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62" r:id="rId4"/>
  </p:sldMasterIdLst>
  <p:notesMasterIdLst>
    <p:notesMasterId r:id="rId34"/>
  </p:notesMasterIdLst>
  <p:handoutMasterIdLst>
    <p:handoutMasterId r:id="rId35"/>
  </p:handoutMasterIdLst>
  <p:sldIdLst>
    <p:sldId id="3367" r:id="rId5"/>
    <p:sldId id="3464" r:id="rId6"/>
    <p:sldId id="3454" r:id="rId7"/>
    <p:sldId id="3478" r:id="rId8"/>
    <p:sldId id="3455" r:id="rId9"/>
    <p:sldId id="3479" r:id="rId10"/>
    <p:sldId id="3467" r:id="rId11"/>
    <p:sldId id="3389" r:id="rId12"/>
    <p:sldId id="523" r:id="rId13"/>
    <p:sldId id="521" r:id="rId14"/>
    <p:sldId id="524" r:id="rId15"/>
    <p:sldId id="528" r:id="rId16"/>
    <p:sldId id="3480" r:id="rId17"/>
    <p:sldId id="3383" r:id="rId18"/>
    <p:sldId id="3384" r:id="rId19"/>
    <p:sldId id="3236" r:id="rId20"/>
    <p:sldId id="3392" r:id="rId21"/>
    <p:sldId id="3439" r:id="rId22"/>
    <p:sldId id="3472" r:id="rId23"/>
    <p:sldId id="3473" r:id="rId24"/>
    <p:sldId id="3453" r:id="rId25"/>
    <p:sldId id="3466" r:id="rId26"/>
    <p:sldId id="3458" r:id="rId27"/>
    <p:sldId id="3459" r:id="rId28"/>
    <p:sldId id="3461" r:id="rId29"/>
    <p:sldId id="3460" r:id="rId30"/>
    <p:sldId id="3457" r:id="rId31"/>
    <p:sldId id="3474" r:id="rId32"/>
    <p:sldId id="3471" r:id="rId3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ción" id="{EA2435F5-CCC0-4001-A580-C8446EDE264B}">
          <p14:sldIdLst>
            <p14:sldId id="3367"/>
          </p14:sldIdLst>
        </p14:section>
        <p14:section name="Contexto" id="{53FC8CBC-6C7A-4809-A5B1-3932FEB7DCBD}">
          <p14:sldIdLst>
            <p14:sldId id="3464"/>
            <p14:sldId id="3454"/>
            <p14:sldId id="3478"/>
            <p14:sldId id="3455"/>
            <p14:sldId id="3479"/>
            <p14:sldId id="3467"/>
            <p14:sldId id="3389"/>
            <p14:sldId id="523"/>
            <p14:sldId id="521"/>
            <p14:sldId id="524"/>
            <p14:sldId id="528"/>
            <p14:sldId id="3480"/>
            <p14:sldId id="3383"/>
            <p14:sldId id="3384"/>
            <p14:sldId id="3236"/>
            <p14:sldId id="3392"/>
            <p14:sldId id="3439"/>
            <p14:sldId id="3472"/>
            <p14:sldId id="3473"/>
            <p14:sldId id="3453"/>
            <p14:sldId id="3466"/>
            <p14:sldId id="3458"/>
            <p14:sldId id="3459"/>
            <p14:sldId id="3461"/>
            <p14:sldId id="3460"/>
            <p14:sldId id="3457"/>
            <p14:sldId id="3474"/>
            <p14:sldId id="3471"/>
          </p14:sldIdLst>
        </p14:section>
        <p14:section name="Anexos" id="{3AEB05A9-ED5A-4AB5-A48D-AC60E3AAE6BB}">
          <p14:sldIdLst/>
        </p14:section>
      </p14:sectionLst>
    </p:ext>
    <p:ext uri="{EFAFB233-063F-42B5-8137-9DF3F51BA10A}">
      <p15:sldGuideLst xmlns:p15="http://schemas.microsoft.com/office/powerpoint/2012/main">
        <p15:guide id="1" orient="horz" pos="96" userDrawn="1">
          <p15:clr>
            <a:srgbClr val="F26B43"/>
          </p15:clr>
        </p15:guide>
        <p15:guide id="2" pos="3840" userDrawn="1">
          <p15:clr>
            <a:srgbClr val="A4A3A4"/>
          </p15:clr>
        </p15:guide>
        <p15:guide id="5" pos="393" userDrawn="1">
          <p15:clr>
            <a:srgbClr val="F26B43"/>
          </p15:clr>
        </p15:guide>
        <p15:guide id="7" orient="horz" pos="4133" userDrawn="1">
          <p15:clr>
            <a:srgbClr val="F26B43"/>
          </p15:clr>
        </p15:guide>
        <p15:guide id="8" pos="7469" userDrawn="1">
          <p15:clr>
            <a:srgbClr val="F26B43"/>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4E4ED6C-6590-875F-F51A-A39AAC2C3C8F}" name="Catalina Pino Carril" initials="CPC" userId="S::cpino@minenergia.cl::820f694c-02ea-4600-9a2d-f7516c35c27b" providerId="AD"/>
  <p188:author id="{7A71917E-E131-45E8-1399-DA20AB7E16C4}" name="Marcelo Padilla" initials="MP" userId="S::mpadilla@minenergia.cl::aa4a43d9-693f-4aa2-b36f-c2fcf1c8fa43" providerId="AD"/>
  <p188:author id="{034352B3-1C57-D139-3453-D648A8BEB729}" name="Armando Pérez Pereira" initials="AP" userId="S::aperez@minenergia.cl::c6073d69-8f16-4969-a511-45eba2b5374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rancisco Martinez Conde del Campo" initials="FMC" lastIdx="8" clrIdx="0">
    <p:extLst>
      <p:ext uri="{19B8F6BF-5375-455C-9EA6-DF929625EA0E}">
        <p15:presenceInfo xmlns:p15="http://schemas.microsoft.com/office/powerpoint/2012/main" userId="Francisco Martinez Conde del Campo" providerId="None"/>
      </p:ext>
    </p:extLst>
  </p:cmAuthor>
  <p:cmAuthor id="2" name="Daniela Soler" initials="DS" lastIdx="9" clrIdx="1">
    <p:extLst>
      <p:ext uri="{19B8F6BF-5375-455C-9EA6-DF929625EA0E}">
        <p15:presenceInfo xmlns:p15="http://schemas.microsoft.com/office/powerpoint/2012/main" userId="4e2794b0f211da5f" providerId="Windows Live"/>
      </p:ext>
    </p:extLst>
  </p:cmAuthor>
  <p:cmAuthor id="3" name="Maria José Lambert Alegría" initials="MJLA" lastIdx="7" clrIdx="2">
    <p:extLst>
      <p:ext uri="{19B8F6BF-5375-455C-9EA6-DF929625EA0E}">
        <p15:presenceInfo xmlns:p15="http://schemas.microsoft.com/office/powerpoint/2012/main" userId="S::mlambert@minenergia.cl::daf25d0c-2cdb-4b07-a925-b8dde5889b34" providerId="AD"/>
      </p:ext>
    </p:extLst>
  </p:cmAuthor>
  <p:cmAuthor id="4" name="Daniela Soler Lavín" initials="DSL" lastIdx="5" clrIdx="3">
    <p:extLst>
      <p:ext uri="{19B8F6BF-5375-455C-9EA6-DF929625EA0E}">
        <p15:presenceInfo xmlns:p15="http://schemas.microsoft.com/office/powerpoint/2012/main" userId="Daniela Soler Laví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00B050"/>
    <a:srgbClr val="68B0AB"/>
    <a:srgbClr val="001F60"/>
    <a:srgbClr val="FFFFFF"/>
    <a:srgbClr val="66D1CA"/>
    <a:srgbClr val="488A85"/>
    <a:srgbClr val="D16C81"/>
    <a:srgbClr val="64C6AC"/>
    <a:srgbClr val="355D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73A6B6-9D29-4985-AB6D-81B808E5BF37}" v="240" dt="2024-11-04T19:30:07.65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D03447BB-5D67-496B-8E87-E561075AD55C}" styleName="Estilo oscuro 1 - Énfasis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Estilo oscuro 1 - Énfasis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Estilo oscuro 1 - Énfasis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Estilo medio 4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2DE63D5-997A-4646-A377-4702673A728D}" styleName="Estilo claro 2 - Acento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7" d="100"/>
          <a:sy n="97" d="100"/>
        </p:scale>
        <p:origin x="108" y="174"/>
      </p:cViewPr>
      <p:guideLst>
        <p:guide orient="horz" pos="96"/>
        <p:guide pos="3840"/>
        <p:guide pos="393"/>
        <p:guide orient="horz" pos="4133"/>
        <p:guide pos="746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43"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eger, Nadja GIZ CO" userId="d7e4c572-8353-4195-b051-5a36d413a0e0" providerId="ADAL" clId="{CD73A6B6-9D29-4985-AB6D-81B808E5BF37}"/>
    <pc:docChg chg="undo custSel addSld delSld modSld sldOrd modSection">
      <pc:chgData name="Taeger, Nadja GIZ CO" userId="d7e4c572-8353-4195-b051-5a36d413a0e0" providerId="ADAL" clId="{CD73A6B6-9D29-4985-AB6D-81B808E5BF37}" dt="2024-11-04T19:30:20.451" v="544" actId="20577"/>
      <pc:docMkLst>
        <pc:docMk/>
      </pc:docMkLst>
      <pc:sldChg chg="addSp modSp mod">
        <pc:chgData name="Taeger, Nadja GIZ CO" userId="d7e4c572-8353-4195-b051-5a36d413a0e0" providerId="ADAL" clId="{CD73A6B6-9D29-4985-AB6D-81B808E5BF37}" dt="2024-11-04T19:17:44.350" v="328" actId="14100"/>
        <pc:sldMkLst>
          <pc:docMk/>
          <pc:sldMk cId="1341259140" sldId="521"/>
        </pc:sldMkLst>
        <pc:spChg chg="add mod">
          <ac:chgData name="Taeger, Nadja GIZ CO" userId="d7e4c572-8353-4195-b051-5a36d413a0e0" providerId="ADAL" clId="{CD73A6B6-9D29-4985-AB6D-81B808E5BF37}" dt="2024-11-04T19:17:33.123" v="324" actId="113"/>
          <ac:spMkLst>
            <pc:docMk/>
            <pc:sldMk cId="1341259140" sldId="521"/>
            <ac:spMk id="4" creationId="{B5FC579D-8301-762C-819D-033D634C1025}"/>
          </ac:spMkLst>
        </pc:spChg>
        <pc:spChg chg="add mod">
          <ac:chgData name="Taeger, Nadja GIZ CO" userId="d7e4c572-8353-4195-b051-5a36d413a0e0" providerId="ADAL" clId="{CD73A6B6-9D29-4985-AB6D-81B808E5BF37}" dt="2024-11-04T19:17:33.123" v="324" actId="113"/>
          <ac:spMkLst>
            <pc:docMk/>
            <pc:sldMk cId="1341259140" sldId="521"/>
            <ac:spMk id="5" creationId="{60C6A5BD-EBA3-5835-1933-4AA0A8D9142F}"/>
          </ac:spMkLst>
        </pc:spChg>
        <pc:spChg chg="mod">
          <ac:chgData name="Taeger, Nadja GIZ CO" userId="d7e4c572-8353-4195-b051-5a36d413a0e0" providerId="ADAL" clId="{CD73A6B6-9D29-4985-AB6D-81B808E5BF37}" dt="2024-11-04T19:17:44.350" v="328" actId="14100"/>
          <ac:spMkLst>
            <pc:docMk/>
            <pc:sldMk cId="1341259140" sldId="521"/>
            <ac:spMk id="12" creationId="{00000000-0000-0000-0000-000000000000}"/>
          </ac:spMkLst>
        </pc:spChg>
      </pc:sldChg>
      <pc:sldChg chg="addSp delSp modSp mod">
        <pc:chgData name="Taeger, Nadja GIZ CO" userId="d7e4c572-8353-4195-b051-5a36d413a0e0" providerId="ADAL" clId="{CD73A6B6-9D29-4985-AB6D-81B808E5BF37}" dt="2024-11-04T19:18:13.360" v="347" actId="404"/>
        <pc:sldMkLst>
          <pc:docMk/>
          <pc:sldMk cId="1841004166" sldId="523"/>
        </pc:sldMkLst>
        <pc:spChg chg="mod">
          <ac:chgData name="Taeger, Nadja GIZ CO" userId="d7e4c572-8353-4195-b051-5a36d413a0e0" providerId="ADAL" clId="{CD73A6B6-9D29-4985-AB6D-81B808E5BF37}" dt="2024-11-04T19:16:15.027" v="227" actId="2710"/>
          <ac:spMkLst>
            <pc:docMk/>
            <pc:sldMk cId="1841004166" sldId="523"/>
            <ac:spMk id="2" creationId="{00000000-0000-0000-0000-000000000000}"/>
          </ac:spMkLst>
        </pc:spChg>
        <pc:spChg chg="add mod">
          <ac:chgData name="Taeger, Nadja GIZ CO" userId="d7e4c572-8353-4195-b051-5a36d413a0e0" providerId="ADAL" clId="{CD73A6B6-9D29-4985-AB6D-81B808E5BF37}" dt="2024-11-04T19:17:48.748" v="330" actId="27636"/>
          <ac:spMkLst>
            <pc:docMk/>
            <pc:sldMk cId="1841004166" sldId="523"/>
            <ac:spMk id="5" creationId="{F6073A0B-23CA-6B54-B92B-1D6CD831E66A}"/>
          </ac:spMkLst>
        </pc:spChg>
        <pc:spChg chg="add mod">
          <ac:chgData name="Taeger, Nadja GIZ CO" userId="d7e4c572-8353-4195-b051-5a36d413a0e0" providerId="ADAL" clId="{CD73A6B6-9D29-4985-AB6D-81B808E5BF37}" dt="2024-11-04T19:18:13.360" v="347" actId="404"/>
          <ac:spMkLst>
            <pc:docMk/>
            <pc:sldMk cId="1841004166" sldId="523"/>
            <ac:spMk id="6" creationId="{465DD3D3-F561-FBD2-47EC-E3592A65F5C3}"/>
          </ac:spMkLst>
        </pc:spChg>
        <pc:spChg chg="del mod">
          <ac:chgData name="Taeger, Nadja GIZ CO" userId="d7e4c572-8353-4195-b051-5a36d413a0e0" providerId="ADAL" clId="{CD73A6B6-9D29-4985-AB6D-81B808E5BF37}" dt="2024-11-04T19:17:48.747" v="329" actId="478"/>
          <ac:spMkLst>
            <pc:docMk/>
            <pc:sldMk cId="1841004166" sldId="523"/>
            <ac:spMk id="12" creationId="{00000000-0000-0000-0000-000000000000}"/>
          </ac:spMkLst>
        </pc:spChg>
      </pc:sldChg>
      <pc:sldChg chg="addSp delSp modSp mod">
        <pc:chgData name="Taeger, Nadja GIZ CO" userId="d7e4c572-8353-4195-b051-5a36d413a0e0" providerId="ADAL" clId="{CD73A6B6-9D29-4985-AB6D-81B808E5BF37}" dt="2024-11-04T19:18:23.607" v="351" actId="1076"/>
        <pc:sldMkLst>
          <pc:docMk/>
          <pc:sldMk cId="1198741414" sldId="524"/>
        </pc:sldMkLst>
        <pc:spChg chg="add mod">
          <ac:chgData name="Taeger, Nadja GIZ CO" userId="d7e4c572-8353-4195-b051-5a36d413a0e0" providerId="ADAL" clId="{CD73A6B6-9D29-4985-AB6D-81B808E5BF37}" dt="2024-11-04T19:18:02.057" v="340"/>
          <ac:spMkLst>
            <pc:docMk/>
            <pc:sldMk cId="1198741414" sldId="524"/>
            <ac:spMk id="3" creationId="{9F31D8EF-79B3-FAC8-0818-973B27AA4094}"/>
          </ac:spMkLst>
        </pc:spChg>
        <pc:spChg chg="add mod">
          <ac:chgData name="Taeger, Nadja GIZ CO" userId="d7e4c572-8353-4195-b051-5a36d413a0e0" providerId="ADAL" clId="{CD73A6B6-9D29-4985-AB6D-81B808E5BF37}" dt="2024-11-04T19:18:03.269" v="342" actId="27636"/>
          <ac:spMkLst>
            <pc:docMk/>
            <pc:sldMk cId="1198741414" sldId="524"/>
            <ac:spMk id="5" creationId="{64748959-4AB4-B5C9-B412-B2221B61B51C}"/>
          </ac:spMkLst>
        </pc:spChg>
        <pc:spChg chg="add mod">
          <ac:chgData name="Taeger, Nadja GIZ CO" userId="d7e4c572-8353-4195-b051-5a36d413a0e0" providerId="ADAL" clId="{CD73A6B6-9D29-4985-AB6D-81B808E5BF37}" dt="2024-11-04T19:18:23.607" v="351" actId="1076"/>
          <ac:spMkLst>
            <pc:docMk/>
            <pc:sldMk cId="1198741414" sldId="524"/>
            <ac:spMk id="6" creationId="{7435215D-B52F-7AAC-DE9D-54FE21F2BB4C}"/>
          </ac:spMkLst>
        </pc:spChg>
        <pc:spChg chg="del">
          <ac:chgData name="Taeger, Nadja GIZ CO" userId="d7e4c572-8353-4195-b051-5a36d413a0e0" providerId="ADAL" clId="{CD73A6B6-9D29-4985-AB6D-81B808E5BF37}" dt="2024-11-04T19:18:03.257" v="341" actId="478"/>
          <ac:spMkLst>
            <pc:docMk/>
            <pc:sldMk cId="1198741414" sldId="524"/>
            <ac:spMk id="12" creationId="{00000000-0000-0000-0000-000000000000}"/>
          </ac:spMkLst>
        </pc:spChg>
        <pc:picChg chg="mod">
          <ac:chgData name="Taeger, Nadja GIZ CO" userId="d7e4c572-8353-4195-b051-5a36d413a0e0" providerId="ADAL" clId="{CD73A6B6-9D29-4985-AB6D-81B808E5BF37}" dt="2024-11-04T19:18:16.615" v="349" actId="1076"/>
          <ac:picMkLst>
            <pc:docMk/>
            <pc:sldMk cId="1198741414" sldId="524"/>
            <ac:picMk id="9" creationId="{00000000-0000-0000-0000-000000000000}"/>
          </ac:picMkLst>
        </pc:picChg>
      </pc:sldChg>
      <pc:sldChg chg="addSp delSp modSp mod">
        <pc:chgData name="Taeger, Nadja GIZ CO" userId="d7e4c572-8353-4195-b051-5a36d413a0e0" providerId="ADAL" clId="{CD73A6B6-9D29-4985-AB6D-81B808E5BF37}" dt="2024-11-04T19:19:05.103" v="361" actId="1076"/>
        <pc:sldMkLst>
          <pc:docMk/>
          <pc:sldMk cId="2048243914" sldId="528"/>
        </pc:sldMkLst>
        <pc:spChg chg="del mod">
          <ac:chgData name="Taeger, Nadja GIZ CO" userId="d7e4c572-8353-4195-b051-5a36d413a0e0" providerId="ADAL" clId="{CD73A6B6-9D29-4985-AB6D-81B808E5BF37}" dt="2024-11-04T19:19:02.062" v="360" actId="478"/>
          <ac:spMkLst>
            <pc:docMk/>
            <pc:sldMk cId="2048243914" sldId="528"/>
            <ac:spMk id="6" creationId="{00000000-0000-0000-0000-000000000000}"/>
          </ac:spMkLst>
        </pc:spChg>
        <pc:spChg chg="add mod">
          <ac:chgData name="Taeger, Nadja GIZ CO" userId="d7e4c572-8353-4195-b051-5a36d413a0e0" providerId="ADAL" clId="{CD73A6B6-9D29-4985-AB6D-81B808E5BF37}" dt="2024-11-04T19:19:05.103" v="361" actId="1076"/>
          <ac:spMkLst>
            <pc:docMk/>
            <pc:sldMk cId="2048243914" sldId="528"/>
            <ac:spMk id="9" creationId="{789DDC72-7B5C-C51E-3E6D-092859807CAC}"/>
          </ac:spMkLst>
        </pc:spChg>
      </pc:sldChg>
      <pc:sldChg chg="modSp mod">
        <pc:chgData name="Taeger, Nadja GIZ CO" userId="d7e4c572-8353-4195-b051-5a36d413a0e0" providerId="ADAL" clId="{CD73A6B6-9D29-4985-AB6D-81B808E5BF37}" dt="2024-11-04T19:22:50.759" v="438" actId="33524"/>
        <pc:sldMkLst>
          <pc:docMk/>
          <pc:sldMk cId="378541237" sldId="3236"/>
        </pc:sldMkLst>
        <pc:spChg chg="mod">
          <ac:chgData name="Taeger, Nadja GIZ CO" userId="d7e4c572-8353-4195-b051-5a36d413a0e0" providerId="ADAL" clId="{CD73A6B6-9D29-4985-AB6D-81B808E5BF37}" dt="2024-11-04T19:22:10.918" v="426" actId="20577"/>
          <ac:spMkLst>
            <pc:docMk/>
            <pc:sldMk cId="378541237" sldId="3236"/>
            <ac:spMk id="2" creationId="{F686D5CB-4E95-4A04-8ADE-A98C9772AC9C}"/>
          </ac:spMkLst>
        </pc:spChg>
        <pc:spChg chg="mod">
          <ac:chgData name="Taeger, Nadja GIZ CO" userId="d7e4c572-8353-4195-b051-5a36d413a0e0" providerId="ADAL" clId="{CD73A6B6-9D29-4985-AB6D-81B808E5BF37}" dt="2024-11-04T19:22:50.759" v="438" actId="33524"/>
          <ac:spMkLst>
            <pc:docMk/>
            <pc:sldMk cId="378541237" sldId="3236"/>
            <ac:spMk id="15" creationId="{55A7EF53-BD7F-469E-8D67-2E8D33384815}"/>
          </ac:spMkLst>
        </pc:spChg>
      </pc:sldChg>
      <pc:sldChg chg="modSp mod">
        <pc:chgData name="Taeger, Nadja GIZ CO" userId="d7e4c572-8353-4195-b051-5a36d413a0e0" providerId="ADAL" clId="{CD73A6B6-9D29-4985-AB6D-81B808E5BF37}" dt="2024-11-04T19:30:20.451" v="544" actId="20577"/>
        <pc:sldMkLst>
          <pc:docMk/>
          <pc:sldMk cId="2654654390" sldId="3367"/>
        </pc:sldMkLst>
        <pc:spChg chg="mod">
          <ac:chgData name="Taeger, Nadja GIZ CO" userId="d7e4c572-8353-4195-b051-5a36d413a0e0" providerId="ADAL" clId="{CD73A6B6-9D29-4985-AB6D-81B808E5BF37}" dt="2024-11-04T19:30:20.451" v="544" actId="20577"/>
          <ac:spMkLst>
            <pc:docMk/>
            <pc:sldMk cId="2654654390" sldId="3367"/>
            <ac:spMk id="11" creationId="{3B1CD709-9ACC-43CE-9113-BC16363B6294}"/>
          </ac:spMkLst>
        </pc:spChg>
        <pc:spChg chg="mod">
          <ac:chgData name="Taeger, Nadja GIZ CO" userId="d7e4c572-8353-4195-b051-5a36d413a0e0" providerId="ADAL" clId="{CD73A6B6-9D29-4985-AB6D-81B808E5BF37}" dt="2024-11-04T16:56:07.663" v="4" actId="20577"/>
          <ac:spMkLst>
            <pc:docMk/>
            <pc:sldMk cId="2654654390" sldId="3367"/>
            <ac:spMk id="13" creationId="{003DCF51-428A-403B-832B-B2C4C32794C9}"/>
          </ac:spMkLst>
        </pc:spChg>
      </pc:sldChg>
      <pc:sldChg chg="modSp mod">
        <pc:chgData name="Taeger, Nadja GIZ CO" userId="d7e4c572-8353-4195-b051-5a36d413a0e0" providerId="ADAL" clId="{CD73A6B6-9D29-4985-AB6D-81B808E5BF37}" dt="2024-11-04T19:22:44.128" v="437" actId="20577"/>
        <pc:sldMkLst>
          <pc:docMk/>
          <pc:sldMk cId="3765425766" sldId="3383"/>
        </pc:sldMkLst>
        <pc:spChg chg="mod">
          <ac:chgData name="Taeger, Nadja GIZ CO" userId="d7e4c572-8353-4195-b051-5a36d413a0e0" providerId="ADAL" clId="{CD73A6B6-9D29-4985-AB6D-81B808E5BF37}" dt="2024-11-04T19:19:28.372" v="366"/>
          <ac:spMkLst>
            <pc:docMk/>
            <pc:sldMk cId="3765425766" sldId="3383"/>
            <ac:spMk id="8" creationId="{377477EA-1AE9-4F78-BA58-4B3FFF4EAA8C}"/>
          </ac:spMkLst>
        </pc:spChg>
        <pc:spChg chg="mod">
          <ac:chgData name="Taeger, Nadja GIZ CO" userId="d7e4c572-8353-4195-b051-5a36d413a0e0" providerId="ADAL" clId="{CD73A6B6-9D29-4985-AB6D-81B808E5BF37}" dt="2024-11-04T19:19:22.469" v="365" actId="27636"/>
          <ac:spMkLst>
            <pc:docMk/>
            <pc:sldMk cId="3765425766" sldId="3383"/>
            <ac:spMk id="17" creationId="{3E8C72A8-A418-4B32-9F3F-D4ED96AFBCBE}"/>
          </ac:spMkLst>
        </pc:spChg>
        <pc:spChg chg="mod">
          <ac:chgData name="Taeger, Nadja GIZ CO" userId="d7e4c572-8353-4195-b051-5a36d413a0e0" providerId="ADAL" clId="{CD73A6B6-9D29-4985-AB6D-81B808E5BF37}" dt="2024-11-04T19:22:44.128" v="437" actId="20577"/>
          <ac:spMkLst>
            <pc:docMk/>
            <pc:sldMk cId="3765425766" sldId="3383"/>
            <ac:spMk id="19" creationId="{85FF93F7-DD7E-42AF-9DBE-0BB13A1A9BEF}"/>
          </ac:spMkLst>
        </pc:spChg>
        <pc:graphicFrameChg chg="modGraphic">
          <ac:chgData name="Taeger, Nadja GIZ CO" userId="d7e4c572-8353-4195-b051-5a36d413a0e0" providerId="ADAL" clId="{CD73A6B6-9D29-4985-AB6D-81B808E5BF37}" dt="2024-11-04T19:19:51.489" v="389" actId="20577"/>
          <ac:graphicFrameMkLst>
            <pc:docMk/>
            <pc:sldMk cId="3765425766" sldId="3383"/>
            <ac:graphicFrameMk id="22" creationId="{5FCE006C-A2F1-4572-91CD-1D12C6976BC9}"/>
          </ac:graphicFrameMkLst>
        </pc:graphicFrameChg>
      </pc:sldChg>
      <pc:sldChg chg="modSp mod">
        <pc:chgData name="Taeger, Nadja GIZ CO" userId="d7e4c572-8353-4195-b051-5a36d413a0e0" providerId="ADAL" clId="{CD73A6B6-9D29-4985-AB6D-81B808E5BF37}" dt="2024-11-04T19:21:38.569" v="405"/>
        <pc:sldMkLst>
          <pc:docMk/>
          <pc:sldMk cId="1946042020" sldId="3384"/>
        </pc:sldMkLst>
        <pc:spChg chg="mod">
          <ac:chgData name="Taeger, Nadja GIZ CO" userId="d7e4c572-8353-4195-b051-5a36d413a0e0" providerId="ADAL" clId="{CD73A6B6-9D29-4985-AB6D-81B808E5BF37}" dt="2024-11-04T19:20:58.997" v="400" actId="20577"/>
          <ac:spMkLst>
            <pc:docMk/>
            <pc:sldMk cId="1946042020" sldId="3384"/>
            <ac:spMk id="6" creationId="{B20885BC-F2C6-42D4-9510-707F8E3CB048}"/>
          </ac:spMkLst>
        </pc:spChg>
        <pc:spChg chg="mod">
          <ac:chgData name="Taeger, Nadja GIZ CO" userId="d7e4c572-8353-4195-b051-5a36d413a0e0" providerId="ADAL" clId="{CD73A6B6-9D29-4985-AB6D-81B808E5BF37}" dt="2024-11-04T19:21:30.383" v="404" actId="113"/>
          <ac:spMkLst>
            <pc:docMk/>
            <pc:sldMk cId="1946042020" sldId="3384"/>
            <ac:spMk id="10" creationId="{045F578B-C512-470B-A0D6-B30812F56217}"/>
          </ac:spMkLst>
        </pc:spChg>
        <pc:spChg chg="mod">
          <ac:chgData name="Taeger, Nadja GIZ CO" userId="d7e4c572-8353-4195-b051-5a36d413a0e0" providerId="ADAL" clId="{CD73A6B6-9D29-4985-AB6D-81B808E5BF37}" dt="2024-11-04T19:21:38.569" v="405"/>
          <ac:spMkLst>
            <pc:docMk/>
            <pc:sldMk cId="1946042020" sldId="3384"/>
            <ac:spMk id="11" creationId="{6F8B47DC-BD27-4A11-9359-5038CA9D9BFA}"/>
          </ac:spMkLst>
        </pc:spChg>
      </pc:sldChg>
      <pc:sldChg chg="modSp mod">
        <pc:chgData name="Taeger, Nadja GIZ CO" userId="d7e4c572-8353-4195-b051-5a36d413a0e0" providerId="ADAL" clId="{CD73A6B6-9D29-4985-AB6D-81B808E5BF37}" dt="2024-11-04T19:15:19.279" v="209" actId="20577"/>
        <pc:sldMkLst>
          <pc:docMk/>
          <pc:sldMk cId="4014356644" sldId="3389"/>
        </pc:sldMkLst>
        <pc:spChg chg="mod">
          <ac:chgData name="Taeger, Nadja GIZ CO" userId="d7e4c572-8353-4195-b051-5a36d413a0e0" providerId="ADAL" clId="{CD73A6B6-9D29-4985-AB6D-81B808E5BF37}" dt="2024-11-04T19:13:29.607" v="171" actId="20577"/>
          <ac:spMkLst>
            <pc:docMk/>
            <pc:sldMk cId="4014356644" sldId="3389"/>
            <ac:spMk id="2" creationId="{8B6DDAE1-3B1F-1043-A462-C63C25CFACFD}"/>
          </ac:spMkLst>
        </pc:spChg>
        <pc:spChg chg="mod">
          <ac:chgData name="Taeger, Nadja GIZ CO" userId="d7e4c572-8353-4195-b051-5a36d413a0e0" providerId="ADAL" clId="{CD73A6B6-9D29-4985-AB6D-81B808E5BF37}" dt="2024-11-04T19:13:51.259" v="172"/>
          <ac:spMkLst>
            <pc:docMk/>
            <pc:sldMk cId="4014356644" sldId="3389"/>
            <ac:spMk id="5" creationId="{EC9E53BF-9A39-CE44-AEC7-E146032F38EF}"/>
          </ac:spMkLst>
        </pc:spChg>
        <pc:spChg chg="mod">
          <ac:chgData name="Taeger, Nadja GIZ CO" userId="d7e4c572-8353-4195-b051-5a36d413a0e0" providerId="ADAL" clId="{CD73A6B6-9D29-4985-AB6D-81B808E5BF37}" dt="2024-11-04T19:14:07.818" v="173"/>
          <ac:spMkLst>
            <pc:docMk/>
            <pc:sldMk cId="4014356644" sldId="3389"/>
            <ac:spMk id="8" creationId="{DC2C96CD-B58F-BB42-AF7B-62EAA89CDA3F}"/>
          </ac:spMkLst>
        </pc:spChg>
        <pc:spChg chg="mod">
          <ac:chgData name="Taeger, Nadja GIZ CO" userId="d7e4c572-8353-4195-b051-5a36d413a0e0" providerId="ADAL" clId="{CD73A6B6-9D29-4985-AB6D-81B808E5BF37}" dt="2024-11-04T19:14:14.608" v="186" actId="20577"/>
          <ac:spMkLst>
            <pc:docMk/>
            <pc:sldMk cId="4014356644" sldId="3389"/>
            <ac:spMk id="9" creationId="{326FF29E-2676-F247-B6B9-4218791990BF}"/>
          </ac:spMkLst>
        </pc:spChg>
        <pc:spChg chg="mod">
          <ac:chgData name="Taeger, Nadja GIZ CO" userId="d7e4c572-8353-4195-b051-5a36d413a0e0" providerId="ADAL" clId="{CD73A6B6-9D29-4985-AB6D-81B808E5BF37}" dt="2024-11-04T19:14:20.750" v="187"/>
          <ac:spMkLst>
            <pc:docMk/>
            <pc:sldMk cId="4014356644" sldId="3389"/>
            <ac:spMk id="10" creationId="{F7EFA4C9-3082-F04C-80F3-5D49ABAB5523}"/>
          </ac:spMkLst>
        </pc:spChg>
        <pc:spChg chg="mod">
          <ac:chgData name="Taeger, Nadja GIZ CO" userId="d7e4c572-8353-4195-b051-5a36d413a0e0" providerId="ADAL" clId="{CD73A6B6-9D29-4985-AB6D-81B808E5BF37}" dt="2024-11-04T19:14:47.219" v="197" actId="20577"/>
          <ac:spMkLst>
            <pc:docMk/>
            <pc:sldMk cId="4014356644" sldId="3389"/>
            <ac:spMk id="11" creationId="{6CE5BB49-7937-9A4B-BE76-06DFF23F53E7}"/>
          </ac:spMkLst>
        </pc:spChg>
        <pc:spChg chg="mod">
          <ac:chgData name="Taeger, Nadja GIZ CO" userId="d7e4c572-8353-4195-b051-5a36d413a0e0" providerId="ADAL" clId="{CD73A6B6-9D29-4985-AB6D-81B808E5BF37}" dt="2024-11-04T19:15:05.840" v="205" actId="20577"/>
          <ac:spMkLst>
            <pc:docMk/>
            <pc:sldMk cId="4014356644" sldId="3389"/>
            <ac:spMk id="12" creationId="{4FA68A14-1F30-7B4E-B2A5-32FE1563AC60}"/>
          </ac:spMkLst>
        </pc:spChg>
        <pc:spChg chg="mod">
          <ac:chgData name="Taeger, Nadja GIZ CO" userId="d7e4c572-8353-4195-b051-5a36d413a0e0" providerId="ADAL" clId="{CD73A6B6-9D29-4985-AB6D-81B808E5BF37}" dt="2024-11-04T19:15:19.279" v="209" actId="20577"/>
          <ac:spMkLst>
            <pc:docMk/>
            <pc:sldMk cId="4014356644" sldId="3389"/>
            <ac:spMk id="14" creationId="{3509D2FD-D77E-2D4E-9306-5F5220D589A7}"/>
          </ac:spMkLst>
        </pc:spChg>
      </pc:sldChg>
      <pc:sldChg chg="modSp mod">
        <pc:chgData name="Taeger, Nadja GIZ CO" userId="d7e4c572-8353-4195-b051-5a36d413a0e0" providerId="ADAL" clId="{CD73A6B6-9D29-4985-AB6D-81B808E5BF37}" dt="2024-11-04T19:23:20.408" v="442" actId="108"/>
        <pc:sldMkLst>
          <pc:docMk/>
          <pc:sldMk cId="1659179841" sldId="3392"/>
        </pc:sldMkLst>
        <pc:spChg chg="mod">
          <ac:chgData name="Taeger, Nadja GIZ CO" userId="d7e4c572-8353-4195-b051-5a36d413a0e0" providerId="ADAL" clId="{CD73A6B6-9D29-4985-AB6D-81B808E5BF37}" dt="2024-11-04T19:23:05.289" v="440" actId="14100"/>
          <ac:spMkLst>
            <pc:docMk/>
            <pc:sldMk cId="1659179841" sldId="3392"/>
            <ac:spMk id="38" creationId="{36B90CEE-61E8-8F46-BF22-648D3A9B1FD0}"/>
          </ac:spMkLst>
        </pc:spChg>
        <pc:spChg chg="mod">
          <ac:chgData name="Taeger, Nadja GIZ CO" userId="d7e4c572-8353-4195-b051-5a36d413a0e0" providerId="ADAL" clId="{CD73A6B6-9D29-4985-AB6D-81B808E5BF37}" dt="2024-11-04T19:23:20.408" v="442" actId="108"/>
          <ac:spMkLst>
            <pc:docMk/>
            <pc:sldMk cId="1659179841" sldId="3392"/>
            <ac:spMk id="85" creationId="{58717380-C50B-4844-818F-151E280DCC68}"/>
          </ac:spMkLst>
        </pc:spChg>
      </pc:sldChg>
      <pc:sldChg chg="modSp mod">
        <pc:chgData name="Taeger, Nadja GIZ CO" userId="d7e4c572-8353-4195-b051-5a36d413a0e0" providerId="ADAL" clId="{CD73A6B6-9D29-4985-AB6D-81B808E5BF37}" dt="2024-11-04T19:24:03.793" v="446" actId="20577"/>
        <pc:sldMkLst>
          <pc:docMk/>
          <pc:sldMk cId="2309266567" sldId="3439"/>
        </pc:sldMkLst>
        <pc:spChg chg="mod">
          <ac:chgData name="Taeger, Nadja GIZ CO" userId="d7e4c572-8353-4195-b051-5a36d413a0e0" providerId="ADAL" clId="{CD73A6B6-9D29-4985-AB6D-81B808E5BF37}" dt="2024-11-04T19:23:48.999" v="445" actId="113"/>
          <ac:spMkLst>
            <pc:docMk/>
            <pc:sldMk cId="2309266567" sldId="3439"/>
            <ac:spMk id="13" creationId="{9A5CF5EF-5343-76A4-8B2D-8E2B75C664BE}"/>
          </ac:spMkLst>
        </pc:spChg>
        <pc:graphicFrameChg chg="modGraphic">
          <ac:chgData name="Taeger, Nadja GIZ CO" userId="d7e4c572-8353-4195-b051-5a36d413a0e0" providerId="ADAL" clId="{CD73A6B6-9D29-4985-AB6D-81B808E5BF37}" dt="2024-11-04T19:24:03.793" v="446" actId="20577"/>
          <ac:graphicFrameMkLst>
            <pc:docMk/>
            <pc:sldMk cId="2309266567" sldId="3439"/>
            <ac:graphicFrameMk id="6" creationId="{C8F8C41C-D02D-C811-D0A8-7FB14530E22C}"/>
          </ac:graphicFrameMkLst>
        </pc:graphicFrameChg>
      </pc:sldChg>
      <pc:sldChg chg="modSp mod">
        <pc:chgData name="Taeger, Nadja GIZ CO" userId="d7e4c572-8353-4195-b051-5a36d413a0e0" providerId="ADAL" clId="{CD73A6B6-9D29-4985-AB6D-81B808E5BF37}" dt="2024-11-04T19:26:49.277" v="464" actId="113"/>
        <pc:sldMkLst>
          <pc:docMk/>
          <pc:sldMk cId="336960824" sldId="3453"/>
        </pc:sldMkLst>
        <pc:spChg chg="mod">
          <ac:chgData name="Taeger, Nadja GIZ CO" userId="d7e4c572-8353-4195-b051-5a36d413a0e0" providerId="ADAL" clId="{CD73A6B6-9D29-4985-AB6D-81B808E5BF37}" dt="2024-11-04T19:26:49.277" v="464" actId="113"/>
          <ac:spMkLst>
            <pc:docMk/>
            <pc:sldMk cId="336960824" sldId="3453"/>
            <ac:spMk id="29" creationId="{BB807259-4750-0F44-78CC-6B2DA05F85F8}"/>
          </ac:spMkLst>
        </pc:spChg>
        <pc:spChg chg="mod">
          <ac:chgData name="Taeger, Nadja GIZ CO" userId="d7e4c572-8353-4195-b051-5a36d413a0e0" providerId="ADAL" clId="{CD73A6B6-9D29-4985-AB6D-81B808E5BF37}" dt="2024-11-04T19:26:09.598" v="462" actId="14100"/>
          <ac:spMkLst>
            <pc:docMk/>
            <pc:sldMk cId="336960824" sldId="3453"/>
            <ac:spMk id="36" creationId="{7CFC2B0A-9B6D-D2C0-03F4-1BD8CF18933E}"/>
          </ac:spMkLst>
        </pc:spChg>
        <pc:cxnChg chg="mod">
          <ac:chgData name="Taeger, Nadja GIZ CO" userId="d7e4c572-8353-4195-b051-5a36d413a0e0" providerId="ADAL" clId="{CD73A6B6-9D29-4985-AB6D-81B808E5BF37}" dt="2024-11-04T19:26:09.598" v="462" actId="14100"/>
          <ac:cxnSpMkLst>
            <pc:docMk/>
            <pc:sldMk cId="336960824" sldId="3453"/>
            <ac:cxnSpMk id="38" creationId="{9C346B68-C9E5-4966-2F6A-E7E28473C767}"/>
          </ac:cxnSpMkLst>
        </pc:cxnChg>
      </pc:sldChg>
      <pc:sldChg chg="addSp delSp modSp mod">
        <pc:chgData name="Taeger, Nadja GIZ CO" userId="d7e4c572-8353-4195-b051-5a36d413a0e0" providerId="ADAL" clId="{CD73A6B6-9D29-4985-AB6D-81B808E5BF37}" dt="2024-11-04T19:11:05.148" v="118" actId="21"/>
        <pc:sldMkLst>
          <pc:docMk/>
          <pc:sldMk cId="3208380736" sldId="3454"/>
        </pc:sldMkLst>
        <pc:spChg chg="add del">
          <ac:chgData name="Taeger, Nadja GIZ CO" userId="d7e4c572-8353-4195-b051-5a36d413a0e0" providerId="ADAL" clId="{CD73A6B6-9D29-4985-AB6D-81B808E5BF37}" dt="2024-11-04T19:11:05.148" v="118" actId="21"/>
          <ac:spMkLst>
            <pc:docMk/>
            <pc:sldMk cId="3208380736" sldId="3454"/>
            <ac:spMk id="3" creationId="{6F8B17F7-7F67-6B35-FE34-CEE19F95CCD0}"/>
          </ac:spMkLst>
        </pc:spChg>
        <pc:graphicFrameChg chg="mod">
          <ac:chgData name="Taeger, Nadja GIZ CO" userId="d7e4c572-8353-4195-b051-5a36d413a0e0" providerId="ADAL" clId="{CD73A6B6-9D29-4985-AB6D-81B808E5BF37}" dt="2024-11-04T19:09:50.420" v="113" actId="20577"/>
          <ac:graphicFrameMkLst>
            <pc:docMk/>
            <pc:sldMk cId="3208380736" sldId="3454"/>
            <ac:graphicFrameMk id="8" creationId="{F1429C36-6E42-D6D2-2ED1-7292E3AEA72F}"/>
          </ac:graphicFrameMkLst>
        </pc:graphicFrameChg>
      </pc:sldChg>
      <pc:sldChg chg="modSp">
        <pc:chgData name="Taeger, Nadja GIZ CO" userId="d7e4c572-8353-4195-b051-5a36d413a0e0" providerId="ADAL" clId="{CD73A6B6-9D29-4985-AB6D-81B808E5BF37}" dt="2024-11-04T19:12:14.244" v="127"/>
        <pc:sldMkLst>
          <pc:docMk/>
          <pc:sldMk cId="1667628189" sldId="3455"/>
        </pc:sldMkLst>
        <pc:graphicFrameChg chg="mod">
          <ac:chgData name="Taeger, Nadja GIZ CO" userId="d7e4c572-8353-4195-b051-5a36d413a0e0" providerId="ADAL" clId="{CD73A6B6-9D29-4985-AB6D-81B808E5BF37}" dt="2024-11-04T19:12:14.244" v="127"/>
          <ac:graphicFrameMkLst>
            <pc:docMk/>
            <pc:sldMk cId="1667628189" sldId="3455"/>
            <ac:graphicFrameMk id="5" creationId="{33DF78CA-D926-1235-00E2-8BFAA69F9B3B}"/>
          </ac:graphicFrameMkLst>
        </pc:graphicFrameChg>
      </pc:sldChg>
      <pc:sldChg chg="modSp mod">
        <pc:chgData name="Taeger, Nadja GIZ CO" userId="d7e4c572-8353-4195-b051-5a36d413a0e0" providerId="ADAL" clId="{CD73A6B6-9D29-4985-AB6D-81B808E5BF37}" dt="2024-11-04T19:29:39.379" v="512" actId="20577"/>
        <pc:sldMkLst>
          <pc:docMk/>
          <pc:sldMk cId="350220451" sldId="3457"/>
        </pc:sldMkLst>
        <pc:spChg chg="mod">
          <ac:chgData name="Taeger, Nadja GIZ CO" userId="d7e4c572-8353-4195-b051-5a36d413a0e0" providerId="ADAL" clId="{CD73A6B6-9D29-4985-AB6D-81B808E5BF37}" dt="2024-11-04T19:29:39.379" v="512" actId="20577"/>
          <ac:spMkLst>
            <pc:docMk/>
            <pc:sldMk cId="350220451" sldId="3457"/>
            <ac:spMk id="6" creationId="{9DA3863C-C26A-AD1D-F545-86F0391E49E8}"/>
          </ac:spMkLst>
        </pc:spChg>
        <pc:spChg chg="mod">
          <ac:chgData name="Taeger, Nadja GIZ CO" userId="d7e4c572-8353-4195-b051-5a36d413a0e0" providerId="ADAL" clId="{CD73A6B6-9D29-4985-AB6D-81B808E5BF37}" dt="2024-11-04T19:28:21.789" v="490" actId="20577"/>
          <ac:spMkLst>
            <pc:docMk/>
            <pc:sldMk cId="350220451" sldId="3457"/>
            <ac:spMk id="7" creationId="{BE77E811-7156-F0D1-78BE-110CFBE558CA}"/>
          </ac:spMkLst>
        </pc:spChg>
      </pc:sldChg>
      <pc:sldChg chg="modSp mod">
        <pc:chgData name="Taeger, Nadja GIZ CO" userId="d7e4c572-8353-4195-b051-5a36d413a0e0" providerId="ADAL" clId="{CD73A6B6-9D29-4985-AB6D-81B808E5BF37}" dt="2024-11-04T19:27:46.827" v="468"/>
        <pc:sldMkLst>
          <pc:docMk/>
          <pc:sldMk cId="1424769309" sldId="3459"/>
        </pc:sldMkLst>
        <pc:spChg chg="mod">
          <ac:chgData name="Taeger, Nadja GIZ CO" userId="d7e4c572-8353-4195-b051-5a36d413a0e0" providerId="ADAL" clId="{CD73A6B6-9D29-4985-AB6D-81B808E5BF37}" dt="2024-11-04T19:27:46.827" v="468"/>
          <ac:spMkLst>
            <pc:docMk/>
            <pc:sldMk cId="1424769309" sldId="3459"/>
            <ac:spMk id="2" creationId="{1E3814A0-923C-833C-6E29-E98FAF1DE199}"/>
          </ac:spMkLst>
        </pc:spChg>
      </pc:sldChg>
      <pc:sldChg chg="modSp mod">
        <pc:chgData name="Taeger, Nadja GIZ CO" userId="d7e4c572-8353-4195-b051-5a36d413a0e0" providerId="ADAL" clId="{CD73A6B6-9D29-4985-AB6D-81B808E5BF37}" dt="2024-11-04T19:28:10.728" v="483" actId="20577"/>
        <pc:sldMkLst>
          <pc:docMk/>
          <pc:sldMk cId="434379854" sldId="3460"/>
        </pc:sldMkLst>
        <pc:spChg chg="mod">
          <ac:chgData name="Taeger, Nadja GIZ CO" userId="d7e4c572-8353-4195-b051-5a36d413a0e0" providerId="ADAL" clId="{CD73A6B6-9D29-4985-AB6D-81B808E5BF37}" dt="2024-11-04T19:28:10.728" v="483" actId="20577"/>
          <ac:spMkLst>
            <pc:docMk/>
            <pc:sldMk cId="434379854" sldId="3460"/>
            <ac:spMk id="4" creationId="{7217B471-7DB8-62E7-B7C7-BCD0A89D9FFF}"/>
          </ac:spMkLst>
        </pc:spChg>
        <pc:spChg chg="mod">
          <ac:chgData name="Taeger, Nadja GIZ CO" userId="d7e4c572-8353-4195-b051-5a36d413a0e0" providerId="ADAL" clId="{CD73A6B6-9D29-4985-AB6D-81B808E5BF37}" dt="2024-11-04T19:27:58.829" v="470" actId="27636"/>
          <ac:spMkLst>
            <pc:docMk/>
            <pc:sldMk cId="434379854" sldId="3460"/>
            <ac:spMk id="7" creationId="{BE77E811-7156-F0D1-78BE-110CFBE558CA}"/>
          </ac:spMkLst>
        </pc:spChg>
      </pc:sldChg>
      <pc:sldChg chg="modSp">
        <pc:chgData name="Taeger, Nadja GIZ CO" userId="d7e4c572-8353-4195-b051-5a36d413a0e0" providerId="ADAL" clId="{CD73A6B6-9D29-4985-AB6D-81B808E5BF37}" dt="2024-11-04T19:27:50.729" v="469"/>
        <pc:sldMkLst>
          <pc:docMk/>
          <pc:sldMk cId="381343252" sldId="3461"/>
        </pc:sldMkLst>
        <pc:spChg chg="mod">
          <ac:chgData name="Taeger, Nadja GIZ CO" userId="d7e4c572-8353-4195-b051-5a36d413a0e0" providerId="ADAL" clId="{CD73A6B6-9D29-4985-AB6D-81B808E5BF37}" dt="2024-11-04T19:27:50.729" v="469"/>
          <ac:spMkLst>
            <pc:docMk/>
            <pc:sldMk cId="381343252" sldId="3461"/>
            <ac:spMk id="2" creationId="{1E3814A0-923C-833C-6E29-E98FAF1DE199}"/>
          </ac:spMkLst>
        </pc:spChg>
      </pc:sldChg>
      <pc:sldChg chg="modSp">
        <pc:chgData name="Taeger, Nadja GIZ CO" userId="d7e4c572-8353-4195-b051-5a36d413a0e0" providerId="ADAL" clId="{CD73A6B6-9D29-4985-AB6D-81B808E5BF37}" dt="2024-11-04T19:06:38.095" v="17"/>
        <pc:sldMkLst>
          <pc:docMk/>
          <pc:sldMk cId="3054843471" sldId="3464"/>
        </pc:sldMkLst>
        <pc:graphicFrameChg chg="mod">
          <ac:chgData name="Taeger, Nadja GIZ CO" userId="d7e4c572-8353-4195-b051-5a36d413a0e0" providerId="ADAL" clId="{CD73A6B6-9D29-4985-AB6D-81B808E5BF37}" dt="2024-11-04T19:06:38.095" v="17"/>
          <ac:graphicFrameMkLst>
            <pc:docMk/>
            <pc:sldMk cId="3054843471" sldId="3464"/>
            <ac:graphicFrameMk id="7" creationId="{269277E2-3B54-126B-D5D7-2CA7D23A3514}"/>
          </ac:graphicFrameMkLst>
        </pc:graphicFrameChg>
      </pc:sldChg>
      <pc:sldChg chg="modSp">
        <pc:chgData name="Taeger, Nadja GIZ CO" userId="d7e4c572-8353-4195-b051-5a36d413a0e0" providerId="ADAL" clId="{CD73A6B6-9D29-4985-AB6D-81B808E5BF37}" dt="2024-11-04T19:27:15.039" v="465" actId="113"/>
        <pc:sldMkLst>
          <pc:docMk/>
          <pc:sldMk cId="1594549111" sldId="3466"/>
        </pc:sldMkLst>
        <pc:graphicFrameChg chg="mod">
          <ac:chgData name="Taeger, Nadja GIZ CO" userId="d7e4c572-8353-4195-b051-5a36d413a0e0" providerId="ADAL" clId="{CD73A6B6-9D29-4985-AB6D-81B808E5BF37}" dt="2024-11-04T19:27:15.039" v="465" actId="113"/>
          <ac:graphicFrameMkLst>
            <pc:docMk/>
            <pc:sldMk cId="1594549111" sldId="3466"/>
            <ac:graphicFrameMk id="5" creationId="{33DF78CA-D926-1235-00E2-8BFAA69F9B3B}"/>
          </ac:graphicFrameMkLst>
        </pc:graphicFrameChg>
      </pc:sldChg>
      <pc:sldChg chg="modSp mod">
        <pc:chgData name="Taeger, Nadja GIZ CO" userId="d7e4c572-8353-4195-b051-5a36d413a0e0" providerId="ADAL" clId="{CD73A6B6-9D29-4985-AB6D-81B808E5BF37}" dt="2024-11-04T19:13:21.690" v="152" actId="20577"/>
        <pc:sldMkLst>
          <pc:docMk/>
          <pc:sldMk cId="3702741323" sldId="3467"/>
        </pc:sldMkLst>
        <pc:spChg chg="mod">
          <ac:chgData name="Taeger, Nadja GIZ CO" userId="d7e4c572-8353-4195-b051-5a36d413a0e0" providerId="ADAL" clId="{CD73A6B6-9D29-4985-AB6D-81B808E5BF37}" dt="2024-11-04T19:12:46.319" v="133"/>
          <ac:spMkLst>
            <pc:docMk/>
            <pc:sldMk cId="3702741323" sldId="3467"/>
            <ac:spMk id="7" creationId="{BE77E811-7156-F0D1-78BE-110CFBE558CA}"/>
          </ac:spMkLst>
        </pc:spChg>
        <pc:graphicFrameChg chg="mod">
          <ac:chgData name="Taeger, Nadja GIZ CO" userId="d7e4c572-8353-4195-b051-5a36d413a0e0" providerId="ADAL" clId="{CD73A6B6-9D29-4985-AB6D-81B808E5BF37}" dt="2024-11-04T19:13:21.690" v="152" actId="20577"/>
          <ac:graphicFrameMkLst>
            <pc:docMk/>
            <pc:sldMk cId="3702741323" sldId="3467"/>
            <ac:graphicFrameMk id="5" creationId="{33DF78CA-D926-1235-00E2-8BFAA69F9B3B}"/>
          </ac:graphicFrameMkLst>
        </pc:graphicFrameChg>
      </pc:sldChg>
      <pc:sldChg chg="modSp mod">
        <pc:chgData name="Taeger, Nadja GIZ CO" userId="d7e4c572-8353-4195-b051-5a36d413a0e0" providerId="ADAL" clId="{CD73A6B6-9D29-4985-AB6D-81B808E5BF37}" dt="2024-11-04T19:30:14.418" v="534" actId="20577"/>
        <pc:sldMkLst>
          <pc:docMk/>
          <pc:sldMk cId="3425938012" sldId="3471"/>
        </pc:sldMkLst>
        <pc:spChg chg="mod">
          <ac:chgData name="Taeger, Nadja GIZ CO" userId="d7e4c572-8353-4195-b051-5a36d413a0e0" providerId="ADAL" clId="{CD73A6B6-9D29-4985-AB6D-81B808E5BF37}" dt="2024-11-04T19:30:14.418" v="534" actId="20577"/>
          <ac:spMkLst>
            <pc:docMk/>
            <pc:sldMk cId="3425938012" sldId="3471"/>
            <ac:spMk id="11" creationId="{3B1CD709-9ACC-43CE-9113-BC16363B6294}"/>
          </ac:spMkLst>
        </pc:spChg>
      </pc:sldChg>
      <pc:sldChg chg="modSp mod">
        <pc:chgData name="Taeger, Nadja GIZ CO" userId="d7e4c572-8353-4195-b051-5a36d413a0e0" providerId="ADAL" clId="{CD73A6B6-9D29-4985-AB6D-81B808E5BF37}" dt="2024-11-04T19:25:28.919" v="460" actId="20577"/>
        <pc:sldMkLst>
          <pc:docMk/>
          <pc:sldMk cId="2589330612" sldId="3472"/>
        </pc:sldMkLst>
        <pc:spChg chg="mod">
          <ac:chgData name="Taeger, Nadja GIZ CO" userId="d7e4c572-8353-4195-b051-5a36d413a0e0" providerId="ADAL" clId="{CD73A6B6-9D29-4985-AB6D-81B808E5BF37}" dt="2024-11-04T19:25:28.919" v="460" actId="20577"/>
          <ac:spMkLst>
            <pc:docMk/>
            <pc:sldMk cId="2589330612" sldId="3472"/>
            <ac:spMk id="10" creationId="{62EB643B-3233-1E0B-B211-F4EEB300CCC2}"/>
          </ac:spMkLst>
        </pc:spChg>
        <pc:spChg chg="mod">
          <ac:chgData name="Taeger, Nadja GIZ CO" userId="d7e4c572-8353-4195-b051-5a36d413a0e0" providerId="ADAL" clId="{CD73A6B6-9D29-4985-AB6D-81B808E5BF37}" dt="2024-11-04T19:24:23.288" v="447"/>
          <ac:spMkLst>
            <pc:docMk/>
            <pc:sldMk cId="2589330612" sldId="3472"/>
            <ac:spMk id="13" creationId="{9A5CF5EF-5343-76A4-8B2D-8E2B75C664BE}"/>
          </ac:spMkLst>
        </pc:spChg>
      </pc:sldChg>
      <pc:sldChg chg="modSp">
        <pc:chgData name="Taeger, Nadja GIZ CO" userId="d7e4c572-8353-4195-b051-5a36d413a0e0" providerId="ADAL" clId="{CD73A6B6-9D29-4985-AB6D-81B808E5BF37}" dt="2024-11-04T19:25:50.967" v="461"/>
        <pc:sldMkLst>
          <pc:docMk/>
          <pc:sldMk cId="2356814271" sldId="3473"/>
        </pc:sldMkLst>
        <pc:spChg chg="mod">
          <ac:chgData name="Taeger, Nadja GIZ CO" userId="d7e4c572-8353-4195-b051-5a36d413a0e0" providerId="ADAL" clId="{CD73A6B6-9D29-4985-AB6D-81B808E5BF37}" dt="2024-11-04T19:25:50.967" v="461"/>
          <ac:spMkLst>
            <pc:docMk/>
            <pc:sldMk cId="2356814271" sldId="3473"/>
            <ac:spMk id="19" creationId="{DF77B569-8364-4BA7-E258-383EEB481D0B}"/>
          </ac:spMkLst>
        </pc:spChg>
        <pc:spChg chg="mod">
          <ac:chgData name="Taeger, Nadja GIZ CO" userId="d7e4c572-8353-4195-b051-5a36d413a0e0" providerId="ADAL" clId="{CD73A6B6-9D29-4985-AB6D-81B808E5BF37}" dt="2024-11-04T19:25:50.967" v="461"/>
          <ac:spMkLst>
            <pc:docMk/>
            <pc:sldMk cId="2356814271" sldId="3473"/>
            <ac:spMk id="21" creationId="{89608BF8-D221-A949-8107-CFE857138D01}"/>
          </ac:spMkLst>
        </pc:spChg>
        <pc:grpChg chg="mod">
          <ac:chgData name="Taeger, Nadja GIZ CO" userId="d7e4c572-8353-4195-b051-5a36d413a0e0" providerId="ADAL" clId="{CD73A6B6-9D29-4985-AB6D-81B808E5BF37}" dt="2024-11-04T19:25:50.967" v="461"/>
          <ac:grpSpMkLst>
            <pc:docMk/>
            <pc:sldMk cId="2356814271" sldId="3473"/>
            <ac:grpSpMk id="17" creationId="{C7966E23-B35D-7D52-314F-AD17782454FA}"/>
          </ac:grpSpMkLst>
        </pc:grpChg>
        <pc:cxnChg chg="mod">
          <ac:chgData name="Taeger, Nadja GIZ CO" userId="d7e4c572-8353-4195-b051-5a36d413a0e0" providerId="ADAL" clId="{CD73A6B6-9D29-4985-AB6D-81B808E5BF37}" dt="2024-11-04T19:25:50.967" v="461"/>
          <ac:cxnSpMkLst>
            <pc:docMk/>
            <pc:sldMk cId="2356814271" sldId="3473"/>
            <ac:cxnSpMk id="18" creationId="{2BE6B7D6-7F91-CE44-6474-366C224F9A42}"/>
          </ac:cxnSpMkLst>
        </pc:cxnChg>
        <pc:cxnChg chg="mod">
          <ac:chgData name="Taeger, Nadja GIZ CO" userId="d7e4c572-8353-4195-b051-5a36d413a0e0" providerId="ADAL" clId="{CD73A6B6-9D29-4985-AB6D-81B808E5BF37}" dt="2024-11-04T19:25:50.967" v="461"/>
          <ac:cxnSpMkLst>
            <pc:docMk/>
            <pc:sldMk cId="2356814271" sldId="3473"/>
            <ac:cxnSpMk id="20" creationId="{123C54B5-A613-2464-5DFC-9CBA58FD2787}"/>
          </ac:cxnSpMkLst>
        </pc:cxnChg>
      </pc:sldChg>
      <pc:sldChg chg="modSp">
        <pc:chgData name="Taeger, Nadja GIZ CO" userId="d7e4c572-8353-4195-b051-5a36d413a0e0" providerId="ADAL" clId="{CD73A6B6-9D29-4985-AB6D-81B808E5BF37}" dt="2024-11-04T19:30:02.468" v="518" actId="20577"/>
        <pc:sldMkLst>
          <pc:docMk/>
          <pc:sldMk cId="2688952785" sldId="3474"/>
        </pc:sldMkLst>
        <pc:graphicFrameChg chg="mod">
          <ac:chgData name="Taeger, Nadja GIZ CO" userId="d7e4c572-8353-4195-b051-5a36d413a0e0" providerId="ADAL" clId="{CD73A6B6-9D29-4985-AB6D-81B808E5BF37}" dt="2024-11-04T19:30:02.468" v="518" actId="20577"/>
          <ac:graphicFrameMkLst>
            <pc:docMk/>
            <pc:sldMk cId="2688952785" sldId="3474"/>
            <ac:graphicFrameMk id="5" creationId="{68C50F07-00D1-617E-C4E3-DCEA3B5CEF3E}"/>
          </ac:graphicFrameMkLst>
        </pc:graphicFrameChg>
      </pc:sldChg>
      <pc:sldChg chg="del">
        <pc:chgData name="Taeger, Nadja GIZ CO" userId="d7e4c572-8353-4195-b051-5a36d413a0e0" providerId="ADAL" clId="{CD73A6B6-9D29-4985-AB6D-81B808E5BF37}" dt="2024-11-04T19:11:26.547" v="122" actId="47"/>
        <pc:sldMkLst>
          <pc:docMk/>
          <pc:sldMk cId="1337555887" sldId="3475"/>
        </pc:sldMkLst>
      </pc:sldChg>
      <pc:sldChg chg="del">
        <pc:chgData name="Taeger, Nadja GIZ CO" userId="d7e4c572-8353-4195-b051-5a36d413a0e0" providerId="ADAL" clId="{CD73A6B6-9D29-4985-AB6D-81B808E5BF37}" dt="2024-11-04T19:12:35.488" v="132" actId="47"/>
        <pc:sldMkLst>
          <pc:docMk/>
          <pc:sldMk cId="1245668348" sldId="3476"/>
        </pc:sldMkLst>
      </pc:sldChg>
      <pc:sldChg chg="del">
        <pc:chgData name="Taeger, Nadja GIZ CO" userId="d7e4c572-8353-4195-b051-5a36d413a0e0" providerId="ADAL" clId="{CD73A6B6-9D29-4985-AB6D-81B808E5BF37}" dt="2024-11-04T19:19:18.328" v="364" actId="47"/>
        <pc:sldMkLst>
          <pc:docMk/>
          <pc:sldMk cId="1626660916" sldId="3477"/>
        </pc:sldMkLst>
      </pc:sldChg>
      <pc:sldChg chg="addSp delSp modSp add mod setBg delDesignElem">
        <pc:chgData name="Taeger, Nadja GIZ CO" userId="d7e4c572-8353-4195-b051-5a36d413a0e0" providerId="ADAL" clId="{CD73A6B6-9D29-4985-AB6D-81B808E5BF37}" dt="2024-11-04T19:11:18.941" v="121" actId="167"/>
        <pc:sldMkLst>
          <pc:docMk/>
          <pc:sldMk cId="2090143304" sldId="3478"/>
        </pc:sldMkLst>
        <pc:spChg chg="add mod">
          <ac:chgData name="Taeger, Nadja GIZ CO" userId="d7e4c572-8353-4195-b051-5a36d413a0e0" providerId="ADAL" clId="{CD73A6B6-9D29-4985-AB6D-81B808E5BF37}" dt="2024-11-04T19:10:16.363" v="116"/>
          <ac:spMkLst>
            <pc:docMk/>
            <pc:sldMk cId="2090143304" sldId="3478"/>
            <ac:spMk id="3" creationId="{3A97A214-94A2-D0E0-1418-3A85118C3447}"/>
          </ac:spMkLst>
        </pc:spChg>
        <pc:spChg chg="add mod ord">
          <ac:chgData name="Taeger, Nadja GIZ CO" userId="d7e4c572-8353-4195-b051-5a36d413a0e0" providerId="ADAL" clId="{CD73A6B6-9D29-4985-AB6D-81B808E5BF37}" dt="2024-11-04T19:11:18.941" v="121" actId="167"/>
          <ac:spMkLst>
            <pc:docMk/>
            <pc:sldMk cId="2090143304" sldId="3478"/>
            <ac:spMk id="10" creationId="{6F8B17F7-7F67-6B35-FE34-CEE19F95CCD0}"/>
          </ac:spMkLst>
        </pc:spChg>
        <pc:spChg chg="del">
          <ac:chgData name="Taeger, Nadja GIZ CO" userId="d7e4c572-8353-4195-b051-5a36d413a0e0" providerId="ADAL" clId="{CD73A6B6-9D29-4985-AB6D-81B808E5BF37}" dt="2024-11-04T19:10:12.598" v="115"/>
          <ac:spMkLst>
            <pc:docMk/>
            <pc:sldMk cId="2090143304" sldId="3478"/>
            <ac:spMk id="12" creationId="{C521AA7C-3116-5011-0304-01A40063BA74}"/>
          </ac:spMkLst>
        </pc:spChg>
      </pc:sldChg>
      <pc:sldChg chg="modSp add mod ord">
        <pc:chgData name="Taeger, Nadja GIZ CO" userId="d7e4c572-8353-4195-b051-5a36d413a0e0" providerId="ADAL" clId="{CD73A6B6-9D29-4985-AB6D-81B808E5BF37}" dt="2024-11-04T19:12:30.790" v="131" actId="1076"/>
        <pc:sldMkLst>
          <pc:docMk/>
          <pc:sldMk cId="646729423" sldId="3479"/>
        </pc:sldMkLst>
        <pc:spChg chg="mod">
          <ac:chgData name="Taeger, Nadja GIZ CO" userId="d7e4c572-8353-4195-b051-5a36d413a0e0" providerId="ADAL" clId="{CD73A6B6-9D29-4985-AB6D-81B808E5BF37}" dt="2024-11-04T19:12:30.790" v="131" actId="1076"/>
          <ac:spMkLst>
            <pc:docMk/>
            <pc:sldMk cId="646729423" sldId="3479"/>
            <ac:spMk id="3" creationId="{18D7B040-6F9B-D49A-E0FD-B7A94F840748}"/>
          </ac:spMkLst>
        </pc:spChg>
      </pc:sldChg>
      <pc:sldChg chg="modSp add mod">
        <pc:chgData name="Taeger, Nadja GIZ CO" userId="d7e4c572-8353-4195-b051-5a36d413a0e0" providerId="ADAL" clId="{CD73A6B6-9D29-4985-AB6D-81B808E5BF37}" dt="2024-11-04T19:19:16.527" v="363" actId="1076"/>
        <pc:sldMkLst>
          <pc:docMk/>
          <pc:sldMk cId="1252556497" sldId="3480"/>
        </pc:sldMkLst>
        <pc:spChg chg="mod">
          <ac:chgData name="Taeger, Nadja GIZ CO" userId="d7e4c572-8353-4195-b051-5a36d413a0e0" providerId="ADAL" clId="{CD73A6B6-9D29-4985-AB6D-81B808E5BF37}" dt="2024-11-04T19:19:16.527" v="363" actId="1076"/>
          <ac:spMkLst>
            <pc:docMk/>
            <pc:sldMk cId="1252556497" sldId="3480"/>
            <ac:spMk id="3" creationId="{D0E3FFD4-54C4-A2AB-D3A4-BE01B986CA8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4e2794b0f211da5f/Ministerio/01%20DES/04%20Proyectos/05%20Convenio%20ISCI/00%20Est&#225;ndares%20y%20Ley%20EE/00%20TODO/22%202021%20Nuevo%20analisis%20LDV/Ventas%20Chil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4e2794b0f211da5f/Ministerio/01%20DES/04%20Proyectos/05%20Convenio%20ISCI/00%20Est&#225;ndares%20y%20Ley%20EE/00%20TODO/22%202021%20Nuevo%20analisis%20LDV/Ventas%20Chil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3" Type="http://schemas.openxmlformats.org/officeDocument/2006/relationships/oleObject" Target="Libro1"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4006181039764"/>
          <c:y val="1.1491166438644453E-2"/>
          <c:w val="0.7723654006318702"/>
          <c:h val="0.81739448447074003"/>
        </c:manualLayout>
      </c:layout>
      <c:barChart>
        <c:barDir val="col"/>
        <c:grouping val="stacked"/>
        <c:varyColors val="0"/>
        <c:ser>
          <c:idx val="0"/>
          <c:order val="0"/>
          <c:tx>
            <c:strRef>
              <c:f>'Figura 12'!$O$5</c:f>
              <c:strCache>
                <c:ptCount val="1"/>
                <c:pt idx="0">
                  <c:v>Gasolina</c:v>
                </c:pt>
              </c:strCache>
            </c:strRef>
          </c:tx>
          <c:spPr>
            <a:solidFill>
              <a:schemeClr val="accent1"/>
            </a:solidFill>
            <a:ln>
              <a:noFill/>
            </a:ln>
            <a:effectLst/>
          </c:spPr>
          <c:invertIfNegative val="0"/>
          <c:dLbls>
            <c:dLbl>
              <c:idx val="0"/>
              <c:tx>
                <c:rich>
                  <a:bodyPr/>
                  <a:lstStyle/>
                  <a:p>
                    <a:fld id="{5356927F-366C-48F2-B6C4-0E2F95492D1A}" type="CELLRANGE">
                      <a:rPr lang="en-US"/>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34D-4D02-98D6-9B6D9123C36B}"/>
                </c:ext>
              </c:extLst>
            </c:dLbl>
            <c:dLbl>
              <c:idx val="1"/>
              <c:tx>
                <c:rich>
                  <a:bodyPr/>
                  <a:lstStyle/>
                  <a:p>
                    <a:fld id="{7656D226-552C-4153-A822-BD2B2A1371B5}" type="CELLRANGE">
                      <a:rPr lang="de-DE"/>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34D-4D02-98D6-9B6D9123C36B}"/>
                </c:ext>
              </c:extLst>
            </c:dLbl>
            <c:dLbl>
              <c:idx val="2"/>
              <c:tx>
                <c:rich>
                  <a:bodyPr/>
                  <a:lstStyle/>
                  <a:p>
                    <a:fld id="{3DF77977-62EA-4A2E-A584-12E53872B854}" type="CELLRANGE">
                      <a:rPr lang="de-DE"/>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34D-4D02-98D6-9B6D9123C36B}"/>
                </c:ext>
              </c:extLst>
            </c:dLbl>
            <c:dLbl>
              <c:idx val="3"/>
              <c:tx>
                <c:rich>
                  <a:bodyPr/>
                  <a:lstStyle/>
                  <a:p>
                    <a:fld id="{17018F77-026D-4965-BE33-92A7718BFCB1}" type="CELLRANGE">
                      <a:rPr lang="de-DE"/>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34D-4D02-98D6-9B6D9123C36B}"/>
                </c:ext>
              </c:extLst>
            </c:dLbl>
            <c:dLbl>
              <c:idx val="4"/>
              <c:tx>
                <c:rich>
                  <a:bodyPr/>
                  <a:lstStyle/>
                  <a:p>
                    <a:fld id="{62D867A7-599A-4D3B-B45D-A8FC46AA66C1}" type="CELLRANGE">
                      <a:rPr lang="de-DE"/>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34D-4D02-98D6-9B6D9123C36B}"/>
                </c:ext>
              </c:extLst>
            </c:dLbl>
            <c:dLbl>
              <c:idx val="5"/>
              <c:tx>
                <c:rich>
                  <a:bodyPr/>
                  <a:lstStyle/>
                  <a:p>
                    <a:fld id="{DC390739-D0E4-4208-B980-64BFAE9304DD}" type="CELLRANGE">
                      <a:rPr lang="de-DE"/>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34D-4D02-98D6-9B6D9123C36B}"/>
                </c:ext>
              </c:extLst>
            </c:dLbl>
            <c:numFmt formatCode="0%" sourceLinked="0"/>
            <c:spPr>
              <a:noFill/>
              <a:ln>
                <a:noFill/>
              </a:ln>
              <a:effectLst/>
            </c:spPr>
            <c:txPr>
              <a:bodyPr rot="0" spcFirstLastPara="1" vertOverflow="ellipsis" vert="horz" wrap="square" anchor="ctr" anchorCtr="1"/>
              <a:lstStyle/>
              <a:p>
                <a:pPr>
                  <a:defRPr lang="en-US" sz="1000" b="1" i="0" u="none" strike="noStrike" kern="1200" baseline="0">
                    <a:solidFill>
                      <a:schemeClr val="accent4">
                        <a:lumMod val="60000"/>
                        <a:lumOff val="40000"/>
                      </a:schemeClr>
                    </a:solidFill>
                    <a:latin typeface="+mn-lt"/>
                    <a:ea typeface="+mn-ea"/>
                    <a:cs typeface="+mn-cs"/>
                  </a:defRPr>
                </a:pPr>
                <a:endParaRPr lang="de-DE"/>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Figura 12'!$P$4:$U$4</c:f>
              <c:numCache>
                <c:formatCode>General</c:formatCode>
                <c:ptCount val="6"/>
                <c:pt idx="0">
                  <c:v>2015</c:v>
                </c:pt>
                <c:pt idx="1">
                  <c:v>2016</c:v>
                </c:pt>
                <c:pt idx="2">
                  <c:v>2017</c:v>
                </c:pt>
                <c:pt idx="3">
                  <c:v>2018</c:v>
                </c:pt>
                <c:pt idx="4">
                  <c:v>2019</c:v>
                </c:pt>
                <c:pt idx="5">
                  <c:v>2020</c:v>
                </c:pt>
              </c:numCache>
            </c:numRef>
          </c:cat>
          <c:val>
            <c:numRef>
              <c:f>'Figura 12'!$P$5:$U$5</c:f>
              <c:numCache>
                <c:formatCode>#,##0</c:formatCode>
                <c:ptCount val="6"/>
                <c:pt idx="0">
                  <c:v>248453</c:v>
                </c:pt>
                <c:pt idx="1">
                  <c:v>222846</c:v>
                </c:pt>
                <c:pt idx="2">
                  <c:v>264550</c:v>
                </c:pt>
                <c:pt idx="3">
                  <c:v>299850</c:v>
                </c:pt>
                <c:pt idx="4">
                  <c:v>267780</c:v>
                </c:pt>
                <c:pt idx="5">
                  <c:v>162002</c:v>
                </c:pt>
              </c:numCache>
            </c:numRef>
          </c:val>
          <c:extLst>
            <c:ext xmlns:c15="http://schemas.microsoft.com/office/drawing/2012/chart" uri="{02D57815-91ED-43cb-92C2-25804820EDAC}">
              <c15:datalabelsRange>
                <c15:f>'Figura 12'!$P$13:$U$13</c15:f>
                <c15:dlblRangeCache>
                  <c:ptCount val="6"/>
                  <c:pt idx="0">
                    <c:v>87,5%</c:v>
                  </c:pt>
                  <c:pt idx="1">
                    <c:v>85,6%</c:v>
                  </c:pt>
                  <c:pt idx="2">
                    <c:v>85,4%</c:v>
                  </c:pt>
                  <c:pt idx="3">
                    <c:v>86,9%</c:v>
                  </c:pt>
                  <c:pt idx="4">
                    <c:v>88,2%</c:v>
                  </c:pt>
                  <c:pt idx="5">
                    <c:v>88,4%</c:v>
                  </c:pt>
                </c15:dlblRangeCache>
              </c15:datalabelsRange>
            </c:ext>
            <c:ext xmlns:c16="http://schemas.microsoft.com/office/drawing/2014/chart" uri="{C3380CC4-5D6E-409C-BE32-E72D297353CC}">
              <c16:uniqueId val="{00000006-B34D-4D02-98D6-9B6D9123C36B}"/>
            </c:ext>
          </c:extLst>
        </c:ser>
        <c:ser>
          <c:idx val="1"/>
          <c:order val="1"/>
          <c:tx>
            <c:strRef>
              <c:f>'Figura 12'!$O$6</c:f>
              <c:strCache>
                <c:ptCount val="1"/>
                <c:pt idx="0">
                  <c:v>Diésel</c:v>
                </c:pt>
              </c:strCache>
            </c:strRef>
          </c:tx>
          <c:spPr>
            <a:solidFill>
              <a:schemeClr val="accent2"/>
            </a:solidFill>
            <a:ln>
              <a:noFill/>
            </a:ln>
            <a:effectLst/>
          </c:spPr>
          <c:invertIfNegative val="0"/>
          <c:dLbls>
            <c:dLbl>
              <c:idx val="0"/>
              <c:tx>
                <c:rich>
                  <a:bodyPr/>
                  <a:lstStyle/>
                  <a:p>
                    <a:fld id="{A9052588-8C81-40F6-BD70-984B055333EC}" type="CELLRANGE">
                      <a:rPr lang="en-US"/>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34D-4D02-98D6-9B6D9123C36B}"/>
                </c:ext>
              </c:extLst>
            </c:dLbl>
            <c:dLbl>
              <c:idx val="1"/>
              <c:tx>
                <c:rich>
                  <a:bodyPr/>
                  <a:lstStyle/>
                  <a:p>
                    <a:fld id="{58AC43C9-8817-4786-BA35-F19D08F316FA}" type="CELLRANGE">
                      <a:rPr lang="de-DE"/>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B34D-4D02-98D6-9B6D9123C36B}"/>
                </c:ext>
              </c:extLst>
            </c:dLbl>
            <c:dLbl>
              <c:idx val="2"/>
              <c:tx>
                <c:rich>
                  <a:bodyPr/>
                  <a:lstStyle/>
                  <a:p>
                    <a:fld id="{11647416-73A2-4015-8426-671C6667C218}" type="CELLRANGE">
                      <a:rPr lang="de-DE"/>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34D-4D02-98D6-9B6D9123C36B}"/>
                </c:ext>
              </c:extLst>
            </c:dLbl>
            <c:dLbl>
              <c:idx val="3"/>
              <c:tx>
                <c:rich>
                  <a:bodyPr/>
                  <a:lstStyle/>
                  <a:p>
                    <a:fld id="{C48C9888-98B2-4CE2-B279-ED12ACEA8EB4}" type="CELLRANGE">
                      <a:rPr lang="de-DE"/>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B34D-4D02-98D6-9B6D9123C36B}"/>
                </c:ext>
              </c:extLst>
            </c:dLbl>
            <c:dLbl>
              <c:idx val="4"/>
              <c:tx>
                <c:rich>
                  <a:bodyPr/>
                  <a:lstStyle/>
                  <a:p>
                    <a:fld id="{41F34DDD-2414-402C-A991-D14558DB5BCD}" type="CELLRANGE">
                      <a:rPr lang="de-DE"/>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34D-4D02-98D6-9B6D9123C36B}"/>
                </c:ext>
              </c:extLst>
            </c:dLbl>
            <c:dLbl>
              <c:idx val="5"/>
              <c:tx>
                <c:rich>
                  <a:bodyPr/>
                  <a:lstStyle/>
                  <a:p>
                    <a:fld id="{CBADC3AC-FF98-4C99-BF25-1445833AF94A}" type="CELLRANGE">
                      <a:rPr lang="de-DE"/>
                      <a:pPr/>
                      <a:t>[CELLRANGE]</a:t>
                    </a:fld>
                    <a:endParaRPr lang="de-DE"/>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B34D-4D02-98D6-9B6D9123C36B}"/>
                </c:ext>
              </c:extLst>
            </c:dLbl>
            <c:spPr>
              <a:noFill/>
              <a:ln>
                <a:noFill/>
              </a:ln>
              <a:effectLst/>
            </c:spPr>
            <c:txPr>
              <a:bodyPr rot="0" spcFirstLastPara="1" vertOverflow="ellipsis" vert="horz" wrap="square" anchor="ctr" anchorCtr="1"/>
              <a:lstStyle/>
              <a:p>
                <a:pPr>
                  <a:defRPr lang="en-US" sz="1000" b="1" i="0" u="none" strike="noStrike" kern="1200" baseline="0">
                    <a:solidFill>
                      <a:schemeClr val="tx2">
                        <a:lumMod val="75000"/>
                      </a:schemeClr>
                    </a:solidFill>
                    <a:latin typeface="+mn-lt"/>
                    <a:ea typeface="+mn-ea"/>
                    <a:cs typeface="+mn-cs"/>
                  </a:defRPr>
                </a:pPr>
                <a:endParaRPr lang="de-DE"/>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Figura 12'!$P$4:$U$4</c:f>
              <c:numCache>
                <c:formatCode>General</c:formatCode>
                <c:ptCount val="6"/>
                <c:pt idx="0">
                  <c:v>2015</c:v>
                </c:pt>
                <c:pt idx="1">
                  <c:v>2016</c:v>
                </c:pt>
                <c:pt idx="2">
                  <c:v>2017</c:v>
                </c:pt>
                <c:pt idx="3">
                  <c:v>2018</c:v>
                </c:pt>
                <c:pt idx="4">
                  <c:v>2019</c:v>
                </c:pt>
                <c:pt idx="5">
                  <c:v>2020</c:v>
                </c:pt>
              </c:numCache>
            </c:numRef>
          </c:cat>
          <c:val>
            <c:numRef>
              <c:f>'Figura 12'!$P$6:$U$6</c:f>
              <c:numCache>
                <c:formatCode>#,##0</c:formatCode>
                <c:ptCount val="6"/>
                <c:pt idx="0">
                  <c:v>35151</c:v>
                </c:pt>
                <c:pt idx="1">
                  <c:v>37212</c:v>
                </c:pt>
                <c:pt idx="2">
                  <c:v>44710</c:v>
                </c:pt>
                <c:pt idx="3">
                  <c:v>44159</c:v>
                </c:pt>
                <c:pt idx="4">
                  <c:v>34580</c:v>
                </c:pt>
                <c:pt idx="5">
                  <c:v>20465</c:v>
                </c:pt>
              </c:numCache>
            </c:numRef>
          </c:val>
          <c:extLst>
            <c:ext xmlns:c15="http://schemas.microsoft.com/office/drawing/2012/chart" uri="{02D57815-91ED-43cb-92C2-25804820EDAC}">
              <c15:datalabelsRange>
                <c15:f>'Figura 12'!$P$14:$U$14</c15:f>
                <c15:dlblRangeCache>
                  <c:ptCount val="6"/>
                  <c:pt idx="0">
                    <c:v>12,4%</c:v>
                  </c:pt>
                  <c:pt idx="1">
                    <c:v>14,3%</c:v>
                  </c:pt>
                  <c:pt idx="2">
                    <c:v>14,4%</c:v>
                  </c:pt>
                  <c:pt idx="3">
                    <c:v>12,8%</c:v>
                  </c:pt>
                  <c:pt idx="4">
                    <c:v>11,4%</c:v>
                  </c:pt>
                  <c:pt idx="5">
                    <c:v>11,2%</c:v>
                  </c:pt>
                </c15:dlblRangeCache>
              </c15:datalabelsRange>
            </c:ext>
            <c:ext xmlns:c16="http://schemas.microsoft.com/office/drawing/2014/chart" uri="{C3380CC4-5D6E-409C-BE32-E72D297353CC}">
              <c16:uniqueId val="{0000000D-B34D-4D02-98D6-9B6D9123C36B}"/>
            </c:ext>
          </c:extLst>
        </c:ser>
        <c:ser>
          <c:idx val="2"/>
          <c:order val="2"/>
          <c:tx>
            <c:strRef>
              <c:f>'Figura 12'!$O$7</c:f>
              <c:strCache>
                <c:ptCount val="1"/>
                <c:pt idx="0">
                  <c:v>Híbridos</c:v>
                </c:pt>
              </c:strCache>
            </c:strRef>
          </c:tx>
          <c:spPr>
            <a:solidFill>
              <a:schemeClr val="accent3"/>
            </a:solidFill>
            <a:ln>
              <a:noFill/>
            </a:ln>
            <a:effectLst/>
          </c:spPr>
          <c:invertIfNegative val="0"/>
          <c:cat>
            <c:numRef>
              <c:f>'Figura 12'!$P$4:$U$4</c:f>
              <c:numCache>
                <c:formatCode>General</c:formatCode>
                <c:ptCount val="6"/>
                <c:pt idx="0">
                  <c:v>2015</c:v>
                </c:pt>
                <c:pt idx="1">
                  <c:v>2016</c:v>
                </c:pt>
                <c:pt idx="2">
                  <c:v>2017</c:v>
                </c:pt>
                <c:pt idx="3">
                  <c:v>2018</c:v>
                </c:pt>
                <c:pt idx="4">
                  <c:v>2019</c:v>
                </c:pt>
                <c:pt idx="5">
                  <c:v>2020</c:v>
                </c:pt>
              </c:numCache>
            </c:numRef>
          </c:cat>
          <c:val>
            <c:numRef>
              <c:f>'Figura 12'!$P$7:$U$7</c:f>
              <c:numCache>
                <c:formatCode>#,##0</c:formatCode>
                <c:ptCount val="6"/>
                <c:pt idx="0">
                  <c:v>250</c:v>
                </c:pt>
                <c:pt idx="1">
                  <c:v>158</c:v>
                </c:pt>
                <c:pt idx="2">
                  <c:v>430</c:v>
                </c:pt>
                <c:pt idx="3">
                  <c:v>930</c:v>
                </c:pt>
                <c:pt idx="4">
                  <c:v>965</c:v>
                </c:pt>
                <c:pt idx="5">
                  <c:v>702</c:v>
                </c:pt>
              </c:numCache>
            </c:numRef>
          </c:val>
          <c:extLst>
            <c:ext xmlns:c16="http://schemas.microsoft.com/office/drawing/2014/chart" uri="{C3380CC4-5D6E-409C-BE32-E72D297353CC}">
              <c16:uniqueId val="{0000000E-B34D-4D02-98D6-9B6D9123C36B}"/>
            </c:ext>
          </c:extLst>
        </c:ser>
        <c:ser>
          <c:idx val="3"/>
          <c:order val="3"/>
          <c:tx>
            <c:strRef>
              <c:f>'Figura 12'!$O$8</c:f>
              <c:strCache>
                <c:ptCount val="1"/>
                <c:pt idx="0">
                  <c:v>Eléctricos</c:v>
                </c:pt>
              </c:strCache>
            </c:strRef>
          </c:tx>
          <c:spPr>
            <a:solidFill>
              <a:schemeClr val="accent4"/>
            </a:solidFill>
            <a:ln>
              <a:noFill/>
            </a:ln>
            <a:effectLst/>
          </c:spPr>
          <c:invertIfNegative val="0"/>
          <c:dLbls>
            <c:dLbl>
              <c:idx val="0"/>
              <c:tx>
                <c:rich>
                  <a:bodyPr/>
                  <a:lstStyle/>
                  <a:p>
                    <a:fld id="{BFA73403-A105-43E6-BDAA-083EE5CC18C1}" type="CELLRANGE">
                      <a:rPr lang="en-US"/>
                      <a:pPr/>
                      <a:t>[CELLRANGE]</a:t>
                    </a:fld>
                    <a:endParaRPr lang="de-DE"/>
                  </a:p>
                </c:rich>
              </c:tx>
              <c:dLblPos val="inBase"/>
              <c:showLegendKey val="0"/>
              <c:showVal val="0"/>
              <c:showCatName val="0"/>
              <c:showSerName val="0"/>
              <c:showPercent val="0"/>
              <c:showBubbleSize val="0"/>
              <c:extLst>
                <c:ext xmlns:c15="http://schemas.microsoft.com/office/drawing/2012/chart" uri="{CE6537A1-D6FC-4f65-9D91-7224C49458BB}">
                  <c15:layout>
                    <c:manualLayout>
                      <c:w val="8.5469607719534352E-2"/>
                      <c:h val="4.9520704386598141E-2"/>
                    </c:manualLayout>
                  </c15:layout>
                  <c15:dlblFieldTable/>
                  <c15:showDataLabelsRange val="1"/>
                </c:ext>
                <c:ext xmlns:c16="http://schemas.microsoft.com/office/drawing/2014/chart" uri="{C3380CC4-5D6E-409C-BE32-E72D297353CC}">
                  <c16:uniqueId val="{0000000F-B34D-4D02-98D6-9B6D9123C36B}"/>
                </c:ext>
              </c:extLst>
            </c:dLbl>
            <c:dLbl>
              <c:idx val="1"/>
              <c:tx>
                <c:rich>
                  <a:bodyPr/>
                  <a:lstStyle/>
                  <a:p>
                    <a:fld id="{8B363A67-F20E-48A7-88F7-25AA4873A802}" type="CELLRANGE">
                      <a:rPr lang="en-US"/>
                      <a:pPr/>
                      <a:t>[CELLRANGE]</a:t>
                    </a:fld>
                    <a:endParaRPr lang="de-DE"/>
                  </a:p>
                </c:rich>
              </c:tx>
              <c:dLblPos val="inBase"/>
              <c:showLegendKey val="0"/>
              <c:showVal val="0"/>
              <c:showCatName val="0"/>
              <c:showSerName val="0"/>
              <c:showPercent val="0"/>
              <c:showBubbleSize val="0"/>
              <c:extLst>
                <c:ext xmlns:c15="http://schemas.microsoft.com/office/drawing/2012/chart" uri="{CE6537A1-D6FC-4f65-9D91-7224C49458BB}">
                  <c15:layout>
                    <c:manualLayout>
                      <c:w val="8.5469607719534352E-2"/>
                      <c:h val="4.9520704386598141E-2"/>
                    </c:manualLayout>
                  </c15:layout>
                  <c15:dlblFieldTable/>
                  <c15:showDataLabelsRange val="1"/>
                </c:ext>
                <c:ext xmlns:c16="http://schemas.microsoft.com/office/drawing/2014/chart" uri="{C3380CC4-5D6E-409C-BE32-E72D297353CC}">
                  <c16:uniqueId val="{00000010-B34D-4D02-98D6-9B6D9123C36B}"/>
                </c:ext>
              </c:extLst>
            </c:dLbl>
            <c:dLbl>
              <c:idx val="2"/>
              <c:tx>
                <c:rich>
                  <a:bodyPr/>
                  <a:lstStyle/>
                  <a:p>
                    <a:fld id="{EF4E8FC6-3B02-4565-ACAE-A1D3E4991F3B}" type="CELLRANGE">
                      <a:rPr lang="en-US"/>
                      <a:pPr/>
                      <a:t>[CELLRANGE]</a:t>
                    </a:fld>
                    <a:endParaRPr lang="de-DE"/>
                  </a:p>
                </c:rich>
              </c:tx>
              <c:dLblPos val="inBase"/>
              <c:showLegendKey val="0"/>
              <c:showVal val="0"/>
              <c:showCatName val="0"/>
              <c:showSerName val="0"/>
              <c:showPercent val="0"/>
              <c:showBubbleSize val="0"/>
              <c:extLst>
                <c:ext xmlns:c15="http://schemas.microsoft.com/office/drawing/2012/chart" uri="{CE6537A1-D6FC-4f65-9D91-7224C49458BB}">
                  <c15:layout>
                    <c:manualLayout>
                      <c:w val="8.5469607719534352E-2"/>
                      <c:h val="4.9520704386598141E-2"/>
                    </c:manualLayout>
                  </c15:layout>
                  <c15:dlblFieldTable/>
                  <c15:showDataLabelsRange val="1"/>
                </c:ext>
                <c:ext xmlns:c16="http://schemas.microsoft.com/office/drawing/2014/chart" uri="{C3380CC4-5D6E-409C-BE32-E72D297353CC}">
                  <c16:uniqueId val="{00000011-B34D-4D02-98D6-9B6D9123C36B}"/>
                </c:ext>
              </c:extLst>
            </c:dLbl>
            <c:dLbl>
              <c:idx val="3"/>
              <c:tx>
                <c:rich>
                  <a:bodyPr/>
                  <a:lstStyle/>
                  <a:p>
                    <a:fld id="{7998146E-5291-4D8A-8A26-7E3C7B434392}" type="CELLRANGE">
                      <a:rPr lang="en-US"/>
                      <a:pPr/>
                      <a:t>[CELLRANGE]</a:t>
                    </a:fld>
                    <a:endParaRPr lang="de-DE"/>
                  </a:p>
                </c:rich>
              </c:tx>
              <c:dLblPos val="inBase"/>
              <c:showLegendKey val="0"/>
              <c:showVal val="0"/>
              <c:showCatName val="0"/>
              <c:showSerName val="0"/>
              <c:showPercent val="0"/>
              <c:showBubbleSize val="0"/>
              <c:extLst>
                <c:ext xmlns:c15="http://schemas.microsoft.com/office/drawing/2012/chart" uri="{CE6537A1-D6FC-4f65-9D91-7224C49458BB}">
                  <c15:layout>
                    <c:manualLayout>
                      <c:w val="8.5469607719534352E-2"/>
                      <c:h val="4.9520704386598141E-2"/>
                    </c:manualLayout>
                  </c15:layout>
                  <c15:dlblFieldTable/>
                  <c15:showDataLabelsRange val="1"/>
                </c:ext>
                <c:ext xmlns:c16="http://schemas.microsoft.com/office/drawing/2014/chart" uri="{C3380CC4-5D6E-409C-BE32-E72D297353CC}">
                  <c16:uniqueId val="{00000012-B34D-4D02-98D6-9B6D9123C36B}"/>
                </c:ext>
              </c:extLst>
            </c:dLbl>
            <c:dLbl>
              <c:idx val="4"/>
              <c:tx>
                <c:rich>
                  <a:bodyPr/>
                  <a:lstStyle/>
                  <a:p>
                    <a:fld id="{9EBCE37B-D09A-4F79-A5EC-46F314D068BE}" type="CELLRANGE">
                      <a:rPr lang="en-US"/>
                      <a:pPr/>
                      <a:t>[CELLRANGE]</a:t>
                    </a:fld>
                    <a:endParaRPr lang="de-DE"/>
                  </a:p>
                </c:rich>
              </c:tx>
              <c:dLblPos val="inBase"/>
              <c:showLegendKey val="0"/>
              <c:showVal val="0"/>
              <c:showCatName val="0"/>
              <c:showSerName val="0"/>
              <c:showPercent val="0"/>
              <c:showBubbleSize val="0"/>
              <c:extLst>
                <c:ext xmlns:c15="http://schemas.microsoft.com/office/drawing/2012/chart" uri="{CE6537A1-D6FC-4f65-9D91-7224C49458BB}">
                  <c15:layout>
                    <c:manualLayout>
                      <c:w val="8.5469607719534352E-2"/>
                      <c:h val="4.9520704386598141E-2"/>
                    </c:manualLayout>
                  </c15:layout>
                  <c15:dlblFieldTable/>
                  <c15:showDataLabelsRange val="1"/>
                </c:ext>
                <c:ext xmlns:c16="http://schemas.microsoft.com/office/drawing/2014/chart" uri="{C3380CC4-5D6E-409C-BE32-E72D297353CC}">
                  <c16:uniqueId val="{00000013-B34D-4D02-98D6-9B6D9123C36B}"/>
                </c:ext>
              </c:extLst>
            </c:dLbl>
            <c:dLbl>
              <c:idx val="5"/>
              <c:tx>
                <c:rich>
                  <a:bodyPr/>
                  <a:lstStyle/>
                  <a:p>
                    <a:fld id="{5871F365-90BD-4A90-93A4-BC18E205B110}" type="CELLRANGE">
                      <a:rPr lang="en-US"/>
                      <a:pPr/>
                      <a:t>[CELLRANGE]</a:t>
                    </a:fld>
                    <a:endParaRPr lang="de-DE"/>
                  </a:p>
                </c:rich>
              </c:tx>
              <c:dLblPos val="inBase"/>
              <c:showLegendKey val="0"/>
              <c:showVal val="0"/>
              <c:showCatName val="0"/>
              <c:showSerName val="0"/>
              <c:showPercent val="0"/>
              <c:showBubbleSize val="0"/>
              <c:extLst>
                <c:ext xmlns:c15="http://schemas.microsoft.com/office/drawing/2012/chart" uri="{CE6537A1-D6FC-4f65-9D91-7224C49458BB}">
                  <c15:layout>
                    <c:manualLayout>
                      <c:w val="8.5469607719534352E-2"/>
                      <c:h val="4.9520704386598141E-2"/>
                    </c:manualLayout>
                  </c15:layout>
                  <c15:dlblFieldTable/>
                  <c15:showDataLabelsRange val="1"/>
                </c:ext>
                <c:ext xmlns:c16="http://schemas.microsoft.com/office/drawing/2014/chart" uri="{C3380CC4-5D6E-409C-BE32-E72D297353CC}">
                  <c16:uniqueId val="{00000014-B34D-4D02-98D6-9B6D9123C36B}"/>
                </c:ext>
              </c:extLst>
            </c:dLbl>
            <c:spPr>
              <a:noFill/>
              <a:ln>
                <a:noFill/>
              </a:ln>
              <a:effectLst/>
            </c:spPr>
            <c:txPr>
              <a:bodyPr rot="0" spcFirstLastPara="1" vertOverflow="overflow" horzOverflow="overflow" vert="horz" wrap="square" anchor="ctr" anchorCtr="0">
                <a:noAutofit/>
              </a:bodyPr>
              <a:lstStyle/>
              <a:p>
                <a:pPr>
                  <a:defRPr lang="en-US" sz="1050" b="0" i="0" u="none" strike="noStrike" kern="1200" baseline="0">
                    <a:solidFill>
                      <a:schemeClr val="tx2">
                        <a:lumMod val="75000"/>
                      </a:schemeClr>
                    </a:solidFill>
                    <a:latin typeface="+mn-lt"/>
                    <a:ea typeface="+mn-ea"/>
                    <a:cs typeface="+mn-cs"/>
                  </a:defRPr>
                </a:pPr>
                <a:endParaRPr lang="de-DE"/>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Figura 12'!$P$4:$U$4</c:f>
              <c:numCache>
                <c:formatCode>General</c:formatCode>
                <c:ptCount val="6"/>
                <c:pt idx="0">
                  <c:v>2015</c:v>
                </c:pt>
                <c:pt idx="1">
                  <c:v>2016</c:v>
                </c:pt>
                <c:pt idx="2">
                  <c:v>2017</c:v>
                </c:pt>
                <c:pt idx="3">
                  <c:v>2018</c:v>
                </c:pt>
                <c:pt idx="4">
                  <c:v>2019</c:v>
                </c:pt>
                <c:pt idx="5">
                  <c:v>2020</c:v>
                </c:pt>
              </c:numCache>
            </c:numRef>
          </c:cat>
          <c:val>
            <c:numRef>
              <c:f>'Figura 12'!$P$8:$U$8</c:f>
              <c:numCache>
                <c:formatCode>#,##0</c:formatCode>
                <c:ptCount val="6"/>
                <c:pt idx="0">
                  <c:v>7</c:v>
                </c:pt>
                <c:pt idx="1">
                  <c:v>24</c:v>
                </c:pt>
                <c:pt idx="2">
                  <c:v>147</c:v>
                </c:pt>
                <c:pt idx="3">
                  <c:v>150</c:v>
                </c:pt>
                <c:pt idx="4">
                  <c:v>229</c:v>
                </c:pt>
                <c:pt idx="5">
                  <c:v>87</c:v>
                </c:pt>
              </c:numCache>
            </c:numRef>
          </c:val>
          <c:extLst>
            <c:ext xmlns:c15="http://schemas.microsoft.com/office/drawing/2012/chart" uri="{02D57815-91ED-43cb-92C2-25804820EDAC}">
              <c15:datalabelsRange>
                <c15:f>'Figura 12'!$P$10:$U$10</c15:f>
                <c15:dlblRangeCache>
                  <c:ptCount val="6"/>
                  <c:pt idx="0">
                    <c:v>283.861</c:v>
                  </c:pt>
                  <c:pt idx="1">
                    <c:v>260.240</c:v>
                  </c:pt>
                  <c:pt idx="2">
                    <c:v>309.837</c:v>
                  </c:pt>
                  <c:pt idx="3">
                    <c:v>345.089</c:v>
                  </c:pt>
                  <c:pt idx="4">
                    <c:v>303.554</c:v>
                  </c:pt>
                  <c:pt idx="5">
                    <c:v>183.305</c:v>
                  </c:pt>
                </c15:dlblRangeCache>
              </c15:datalabelsRange>
            </c:ext>
            <c:ext xmlns:c16="http://schemas.microsoft.com/office/drawing/2014/chart" uri="{C3380CC4-5D6E-409C-BE32-E72D297353CC}">
              <c16:uniqueId val="{00000015-B34D-4D02-98D6-9B6D9123C36B}"/>
            </c:ext>
          </c:extLst>
        </c:ser>
        <c:ser>
          <c:idx val="4"/>
          <c:order val="4"/>
          <c:tx>
            <c:strRef>
              <c:f>'Figura 12'!$O$9</c:f>
              <c:strCache>
                <c:ptCount val="1"/>
                <c:pt idx="0">
                  <c:v>Gasolina/GLP</c:v>
                </c:pt>
              </c:strCache>
            </c:strRef>
          </c:tx>
          <c:spPr>
            <a:solidFill>
              <a:schemeClr val="accent5"/>
            </a:solidFill>
            <a:ln>
              <a:noFill/>
            </a:ln>
            <a:effectLst/>
          </c:spPr>
          <c:invertIfNegative val="0"/>
          <c:cat>
            <c:numRef>
              <c:f>'Figura 12'!$P$4:$U$4</c:f>
              <c:numCache>
                <c:formatCode>General</c:formatCode>
                <c:ptCount val="6"/>
                <c:pt idx="0">
                  <c:v>2015</c:v>
                </c:pt>
                <c:pt idx="1">
                  <c:v>2016</c:v>
                </c:pt>
                <c:pt idx="2">
                  <c:v>2017</c:v>
                </c:pt>
                <c:pt idx="3">
                  <c:v>2018</c:v>
                </c:pt>
                <c:pt idx="4">
                  <c:v>2019</c:v>
                </c:pt>
                <c:pt idx="5">
                  <c:v>2020</c:v>
                </c:pt>
              </c:numCache>
            </c:numRef>
          </c:cat>
          <c:val>
            <c:numRef>
              <c:f>'Figura 12'!$P$9:$U$9</c:f>
              <c:numCache>
                <c:formatCode>#,##0</c:formatCode>
                <c:ptCount val="6"/>
                <c:pt idx="0">
                  <c:v>0</c:v>
                </c:pt>
                <c:pt idx="1">
                  <c:v>0</c:v>
                </c:pt>
                <c:pt idx="2">
                  <c:v>0</c:v>
                </c:pt>
                <c:pt idx="3">
                  <c:v>0</c:v>
                </c:pt>
                <c:pt idx="4">
                  <c:v>0</c:v>
                </c:pt>
                <c:pt idx="5">
                  <c:v>49</c:v>
                </c:pt>
              </c:numCache>
            </c:numRef>
          </c:val>
          <c:extLst>
            <c:ext xmlns:c16="http://schemas.microsoft.com/office/drawing/2014/chart" uri="{C3380CC4-5D6E-409C-BE32-E72D297353CC}">
              <c16:uniqueId val="{00000016-B34D-4D02-98D6-9B6D9123C36B}"/>
            </c:ext>
          </c:extLst>
        </c:ser>
        <c:dLbls>
          <c:showLegendKey val="0"/>
          <c:showVal val="0"/>
          <c:showCatName val="0"/>
          <c:showSerName val="0"/>
          <c:showPercent val="0"/>
          <c:showBubbleSize val="0"/>
        </c:dLbls>
        <c:gapWidth val="150"/>
        <c:overlap val="100"/>
        <c:axId val="857727760"/>
        <c:axId val="857725520"/>
      </c:barChart>
      <c:catAx>
        <c:axId val="857727760"/>
        <c:scaling>
          <c:orientation val="minMax"/>
        </c:scaling>
        <c:delete val="0"/>
        <c:axPos val="b"/>
        <c:numFmt formatCode="0" sourceLinked="0"/>
        <c:majorTickMark val="none"/>
        <c:minorTickMark val="none"/>
        <c:tickLblPos val="nextTo"/>
        <c:spPr>
          <a:solidFill>
            <a:srgbClr val="00B050"/>
          </a:solidFill>
          <a:ln>
            <a:noFill/>
          </a:ln>
          <a:effectLst/>
        </c:spPr>
        <c:txPr>
          <a:bodyPr rot="-60000000" spcFirstLastPara="1" vertOverflow="ellipsis" vert="horz" wrap="square" anchor="ctr" anchorCtr="1"/>
          <a:lstStyle/>
          <a:p>
            <a:pPr>
              <a:defRPr lang="en-US" sz="1050" b="0" i="0" u="none" strike="noStrike" kern="1200" baseline="0">
                <a:solidFill>
                  <a:schemeClr val="tx2">
                    <a:lumMod val="75000"/>
                  </a:schemeClr>
                </a:solidFill>
                <a:latin typeface="+mn-lt"/>
                <a:ea typeface="+mn-ea"/>
                <a:cs typeface="+mn-cs"/>
              </a:defRPr>
            </a:pPr>
            <a:endParaRPr lang="de-DE"/>
          </a:p>
        </c:txPr>
        <c:crossAx val="857725520"/>
        <c:crosses val="autoZero"/>
        <c:auto val="1"/>
        <c:lblAlgn val="ctr"/>
        <c:lblOffset val="100"/>
        <c:noMultiLvlLbl val="0"/>
      </c:catAx>
      <c:valAx>
        <c:axId val="857725520"/>
        <c:scaling>
          <c:orientation val="minMax"/>
        </c:scaling>
        <c:delete val="0"/>
        <c:axPos val="l"/>
        <c:majorGridlines>
          <c:spPr>
            <a:ln w="9525" cap="flat" cmpd="sng" algn="ctr">
              <a:solidFill>
                <a:schemeClr val="bg1">
                  <a:lumMod val="7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1050" b="0" i="0" u="none" strike="noStrike" kern="1200" baseline="0">
                <a:solidFill>
                  <a:schemeClr val="tx2">
                    <a:lumMod val="75000"/>
                  </a:schemeClr>
                </a:solidFill>
                <a:latin typeface="+mn-lt"/>
                <a:ea typeface="+mn-ea"/>
                <a:cs typeface="+mn-cs"/>
              </a:defRPr>
            </a:pPr>
            <a:endParaRPr lang="de-DE"/>
          </a:p>
        </c:txPr>
        <c:crossAx val="857727760"/>
        <c:crosses val="autoZero"/>
        <c:crossBetween val="between"/>
      </c:valAx>
      <c:dTable>
        <c:showHorzBorder val="1"/>
        <c:showVertBorder val="1"/>
        <c:showOutline val="0"/>
        <c:showKeys val="1"/>
        <c:spPr>
          <a:noFill/>
          <a:ln w="9525" cap="flat" cmpd="sng" algn="ctr">
            <a:solidFill>
              <a:schemeClr val="bg1">
                <a:lumMod val="75000"/>
              </a:schemeClr>
            </a:solidFill>
            <a:round/>
          </a:ln>
          <a:effectLst/>
        </c:spPr>
        <c:txPr>
          <a:bodyPr rot="0" spcFirstLastPara="1" vertOverflow="ellipsis" vert="horz" wrap="square" anchor="ctr" anchorCtr="1"/>
          <a:lstStyle/>
          <a:p>
            <a:pPr rtl="0">
              <a:defRPr lang="en-US" sz="1050" b="0" i="0" u="none" strike="noStrike" kern="1200" baseline="0">
                <a:solidFill>
                  <a:schemeClr val="tx2">
                    <a:lumMod val="75000"/>
                  </a:schemeClr>
                </a:solidFill>
                <a:latin typeface="+mn-lt"/>
                <a:ea typeface="+mn-ea"/>
                <a:cs typeface="+mn-cs"/>
              </a:defRPr>
            </a:pPr>
            <a:endParaRPr lang="de-DE"/>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lang="en-US" sz="1050" b="0" i="0" u="none" strike="noStrike" kern="1200" baseline="0">
          <a:solidFill>
            <a:schemeClr val="tx2">
              <a:lumMod val="75000"/>
            </a:schemeClr>
          </a:solidFill>
          <a:latin typeface="+mn-lt"/>
          <a:ea typeface="+mn-ea"/>
          <a:cs typeface="+mn-cs"/>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Ventas Chile.xlsx]Figura 12 (2)'!$B$14</c:f>
              <c:strCache>
                <c:ptCount val="1"/>
                <c:pt idx="0">
                  <c:v>Consumo Ciudad (km/lg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Ventas Chile.xlsx]Figura 12 (2)'!$C$4:$H$4</c:f>
              <c:numCache>
                <c:formatCode>General</c:formatCode>
                <c:ptCount val="6"/>
                <c:pt idx="0">
                  <c:v>2015</c:v>
                </c:pt>
                <c:pt idx="1">
                  <c:v>2016</c:v>
                </c:pt>
                <c:pt idx="2">
                  <c:v>2017</c:v>
                </c:pt>
                <c:pt idx="3">
                  <c:v>2018</c:v>
                </c:pt>
                <c:pt idx="4">
                  <c:v>2019</c:v>
                </c:pt>
                <c:pt idx="5">
                  <c:v>2020</c:v>
                </c:pt>
              </c:numCache>
            </c:numRef>
          </c:cat>
          <c:val>
            <c:numRef>
              <c:f>'[Ventas Chile.xlsx]Figura 12 (2)'!$C$14:$H$14</c:f>
              <c:numCache>
                <c:formatCode>#,##0.00</c:formatCode>
                <c:ptCount val="6"/>
                <c:pt idx="0">
                  <c:v>11.764561528353664</c:v>
                </c:pt>
                <c:pt idx="1">
                  <c:v>11.935249201122035</c:v>
                </c:pt>
                <c:pt idx="2">
                  <c:v>11.881055557599636</c:v>
                </c:pt>
                <c:pt idx="3">
                  <c:v>11.897449846271547</c:v>
                </c:pt>
                <c:pt idx="4">
                  <c:v>11.918486344900721</c:v>
                </c:pt>
                <c:pt idx="5">
                  <c:v>12.019270868934303</c:v>
                </c:pt>
              </c:numCache>
            </c:numRef>
          </c:val>
          <c:extLst>
            <c:ext xmlns:c16="http://schemas.microsoft.com/office/drawing/2014/chart" uri="{C3380CC4-5D6E-409C-BE32-E72D297353CC}">
              <c16:uniqueId val="{00000000-AE80-44FC-8476-F3118DAFA793}"/>
            </c:ext>
          </c:extLst>
        </c:ser>
        <c:ser>
          <c:idx val="1"/>
          <c:order val="1"/>
          <c:tx>
            <c:strRef>
              <c:f>'[Ventas Chile.xlsx]Figura 12 (2)'!$B$15</c:f>
              <c:strCache>
                <c:ptCount val="1"/>
                <c:pt idx="0">
                  <c:v>Consumo Carretera (km/lge)</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Ventas Chile.xlsx]Figura 12 (2)'!$C$4:$H$4</c:f>
              <c:numCache>
                <c:formatCode>General</c:formatCode>
                <c:ptCount val="6"/>
                <c:pt idx="0">
                  <c:v>2015</c:v>
                </c:pt>
                <c:pt idx="1">
                  <c:v>2016</c:v>
                </c:pt>
                <c:pt idx="2">
                  <c:v>2017</c:v>
                </c:pt>
                <c:pt idx="3">
                  <c:v>2018</c:v>
                </c:pt>
                <c:pt idx="4">
                  <c:v>2019</c:v>
                </c:pt>
                <c:pt idx="5">
                  <c:v>2020</c:v>
                </c:pt>
              </c:numCache>
            </c:numRef>
          </c:cat>
          <c:val>
            <c:numRef>
              <c:f>'[Ventas Chile.xlsx]Figura 12 (2)'!$C$15:$H$15</c:f>
              <c:numCache>
                <c:formatCode>#,##0.00</c:formatCode>
                <c:ptCount val="6"/>
                <c:pt idx="0">
                  <c:v>18.212856446641151</c:v>
                </c:pt>
                <c:pt idx="1">
                  <c:v>18.283906239240697</c:v>
                </c:pt>
                <c:pt idx="2">
                  <c:v>18.270757612551126</c:v>
                </c:pt>
                <c:pt idx="3">
                  <c:v>18.245820098583273</c:v>
                </c:pt>
                <c:pt idx="4">
                  <c:v>18.224987409950138</c:v>
                </c:pt>
                <c:pt idx="5">
                  <c:v>18.258999332696867</c:v>
                </c:pt>
              </c:numCache>
            </c:numRef>
          </c:val>
          <c:extLst>
            <c:ext xmlns:c16="http://schemas.microsoft.com/office/drawing/2014/chart" uri="{C3380CC4-5D6E-409C-BE32-E72D297353CC}">
              <c16:uniqueId val="{00000001-AE80-44FC-8476-F3118DAFA793}"/>
            </c:ext>
          </c:extLst>
        </c:ser>
        <c:ser>
          <c:idx val="2"/>
          <c:order val="2"/>
          <c:tx>
            <c:strRef>
              <c:f>'[Ventas Chile.xlsx]Figura 12 (2)'!$B$16</c:f>
              <c:strCache>
                <c:ptCount val="1"/>
                <c:pt idx="0">
                  <c:v>Consumo Mixto (km/lge)</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accent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6"/>
                </a:solidFill>
                <a:prstDash val="sysDot"/>
              </a:ln>
              <a:effectLst/>
            </c:spPr>
            <c:trendlineType val="linear"/>
            <c:dispRSqr val="0"/>
            <c:dispEq val="0"/>
          </c:trendline>
          <c:cat>
            <c:numRef>
              <c:f>'[Ventas Chile.xlsx]Figura 12 (2)'!$C$4:$H$4</c:f>
              <c:numCache>
                <c:formatCode>General</c:formatCode>
                <c:ptCount val="6"/>
                <c:pt idx="0">
                  <c:v>2015</c:v>
                </c:pt>
                <c:pt idx="1">
                  <c:v>2016</c:v>
                </c:pt>
                <c:pt idx="2">
                  <c:v>2017</c:v>
                </c:pt>
                <c:pt idx="3">
                  <c:v>2018</c:v>
                </c:pt>
                <c:pt idx="4">
                  <c:v>2019</c:v>
                </c:pt>
                <c:pt idx="5">
                  <c:v>2020</c:v>
                </c:pt>
              </c:numCache>
            </c:numRef>
          </c:cat>
          <c:val>
            <c:numRef>
              <c:f>'[Ventas Chile.xlsx]Figura 12 (2)'!$C$16:$H$16</c:f>
              <c:numCache>
                <c:formatCode>#,##0.00</c:formatCode>
                <c:ptCount val="6"/>
                <c:pt idx="0">
                  <c:v>15.118505444566182</c:v>
                </c:pt>
                <c:pt idx="1">
                  <c:v>15.260516181601597</c:v>
                </c:pt>
                <c:pt idx="2">
                  <c:v>15.211604375849253</c:v>
                </c:pt>
                <c:pt idx="3">
                  <c:v>15.204682700984389</c:v>
                </c:pt>
                <c:pt idx="4">
                  <c:v>15.209855137669063</c:v>
                </c:pt>
                <c:pt idx="5">
                  <c:v>15.284928116090652</c:v>
                </c:pt>
              </c:numCache>
            </c:numRef>
          </c:val>
          <c:extLst>
            <c:ext xmlns:c16="http://schemas.microsoft.com/office/drawing/2014/chart" uri="{C3380CC4-5D6E-409C-BE32-E72D297353CC}">
              <c16:uniqueId val="{00000003-AE80-44FC-8476-F3118DAFA793}"/>
            </c:ext>
          </c:extLst>
        </c:ser>
        <c:dLbls>
          <c:showLegendKey val="0"/>
          <c:showVal val="0"/>
          <c:showCatName val="0"/>
          <c:showSerName val="0"/>
          <c:showPercent val="0"/>
          <c:showBubbleSize val="0"/>
        </c:dLbls>
        <c:gapWidth val="150"/>
        <c:axId val="564940744"/>
        <c:axId val="564941064"/>
      </c:barChart>
      <c:catAx>
        <c:axId val="564940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lumMod val="75000"/>
                  </a:schemeClr>
                </a:solidFill>
                <a:latin typeface="+mn-lt"/>
                <a:ea typeface="+mn-ea"/>
                <a:cs typeface="+mn-cs"/>
              </a:defRPr>
            </a:pPr>
            <a:endParaRPr lang="de-DE"/>
          </a:p>
        </c:txPr>
        <c:crossAx val="564941064"/>
        <c:crosses val="autoZero"/>
        <c:auto val="1"/>
        <c:lblAlgn val="ctr"/>
        <c:lblOffset val="100"/>
        <c:noMultiLvlLbl val="0"/>
      </c:catAx>
      <c:valAx>
        <c:axId val="564941064"/>
        <c:scaling>
          <c:orientation val="minMax"/>
          <c:min val="10"/>
        </c:scaling>
        <c:delete val="0"/>
        <c:axPos val="l"/>
        <c:majorGridlines>
          <c:spPr>
            <a:ln w="9525" cap="flat" cmpd="sng" algn="ctr">
              <a:solidFill>
                <a:schemeClr val="tx2">
                  <a:lumMod val="20000"/>
                  <a:lumOff val="80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2">
                        <a:lumMod val="75000"/>
                      </a:schemeClr>
                    </a:solidFill>
                    <a:latin typeface="+mn-lt"/>
                    <a:ea typeface="+mn-ea"/>
                    <a:cs typeface="+mn-cs"/>
                  </a:defRPr>
                </a:pPr>
                <a:r>
                  <a:rPr lang="en-US">
                    <a:solidFill>
                      <a:schemeClr val="tx2">
                        <a:lumMod val="75000"/>
                      </a:schemeClr>
                    </a:solidFill>
                  </a:rPr>
                  <a:t>Rendimiento Energético (km/lge)</a:t>
                </a:r>
              </a:p>
            </c:rich>
          </c:tx>
          <c:layout>
            <c:manualLayout>
              <c:xMode val="edge"/>
              <c:yMode val="edge"/>
              <c:x val="1.7541140342934664E-2"/>
              <c:y val="0.20330433657872629"/>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2">
                      <a:lumMod val="75000"/>
                    </a:schemeClr>
                  </a:solidFill>
                  <a:latin typeface="+mn-lt"/>
                  <a:ea typeface="+mn-ea"/>
                  <a:cs typeface="+mn-cs"/>
                </a:defRPr>
              </a:pPr>
              <a:endParaRPr lang="de-DE"/>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lumMod val="75000"/>
                  </a:schemeClr>
                </a:solidFill>
                <a:latin typeface="+mn-lt"/>
                <a:ea typeface="+mn-ea"/>
                <a:cs typeface="+mn-cs"/>
              </a:defRPr>
            </a:pPr>
            <a:endParaRPr lang="de-DE"/>
          </a:p>
        </c:txPr>
        <c:crossAx val="564940744"/>
        <c:crosses val="autoZero"/>
        <c:crossBetween val="between"/>
      </c:valAx>
      <c:spPr>
        <a:noFill/>
        <a:ln>
          <a:noFill/>
        </a:ln>
        <a:effectLst/>
      </c:spPr>
    </c:plotArea>
    <c:legend>
      <c:legendPos val="t"/>
      <c:legendEntry>
        <c:idx val="3"/>
        <c:delete val="1"/>
      </c:legendEntry>
      <c:layout>
        <c:manualLayout>
          <c:xMode val="edge"/>
          <c:yMode val="edge"/>
          <c:x val="0.12801096082412119"/>
          <c:y val="2.6824587473554908E-2"/>
          <c:w val="0.74803755614929768"/>
          <c:h val="7.177250671723885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2">
                  <a:lumMod val="7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solidFill>
            <a:schemeClr val="tx1"/>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6728512384227819E-2"/>
          <c:y val="0.16103690215162858"/>
          <c:w val="0.86465079796059974"/>
          <c:h val="0.76630725522839083"/>
        </c:manualLayout>
      </c:layout>
      <c:scatterChart>
        <c:scatterStyle val="lineMarker"/>
        <c:varyColors val="0"/>
        <c:ser>
          <c:idx val="6"/>
          <c:order val="0"/>
          <c:tx>
            <c:strRef>
              <c:f>'Propuesta MEN'!$I$97</c:f>
              <c:strCache>
                <c:ptCount val="1"/>
                <c:pt idx="0">
                  <c:v>Unión Europea</c:v>
                </c:pt>
              </c:strCache>
            </c:strRef>
          </c:tx>
          <c:spPr>
            <a:ln w="6350" cap="rnd">
              <a:solidFill>
                <a:schemeClr val="accent4"/>
              </a:solidFill>
              <a:round/>
            </a:ln>
            <a:effectLst/>
          </c:spPr>
          <c:marker>
            <c:symbol val="circle"/>
            <c:size val="2"/>
            <c:spPr>
              <a:solidFill>
                <a:schemeClr val="accent4"/>
              </a:solidFill>
              <a:ln w="9525">
                <a:solidFill>
                  <a:schemeClr val="accent4"/>
                </a:solidFill>
              </a:ln>
              <a:effectLst/>
            </c:spPr>
          </c:marker>
          <c:dPt>
            <c:idx val="19"/>
            <c:marker>
              <c:symbol val="circle"/>
              <c:size val="2"/>
              <c:spPr>
                <a:solidFill>
                  <a:schemeClr val="accent4"/>
                </a:solidFill>
                <a:ln w="9525">
                  <a:solidFill>
                    <a:schemeClr val="accent4"/>
                  </a:solidFill>
                </a:ln>
                <a:effectLst/>
              </c:spPr>
            </c:marker>
            <c:bubble3D val="0"/>
            <c:spPr>
              <a:ln w="6350" cap="rnd">
                <a:solidFill>
                  <a:schemeClr val="accent4"/>
                </a:solidFill>
                <a:prstDash val="sysDash"/>
                <a:round/>
              </a:ln>
              <a:effectLst/>
            </c:spPr>
            <c:extLst>
              <c:ext xmlns:c16="http://schemas.microsoft.com/office/drawing/2014/chart" uri="{C3380CC4-5D6E-409C-BE32-E72D297353CC}">
                <c16:uniqueId val="{00000001-F9B1-481B-BAE7-80B1097DE81D}"/>
              </c:ext>
            </c:extLst>
          </c:dPt>
          <c:dPt>
            <c:idx val="23"/>
            <c:marker>
              <c:symbol val="circle"/>
              <c:size val="2"/>
              <c:spPr>
                <a:solidFill>
                  <a:schemeClr val="accent4"/>
                </a:solidFill>
                <a:ln w="9525">
                  <a:solidFill>
                    <a:schemeClr val="accent4"/>
                  </a:solidFill>
                </a:ln>
                <a:effectLst/>
              </c:spPr>
            </c:marker>
            <c:bubble3D val="0"/>
            <c:spPr>
              <a:ln w="6350" cap="rnd">
                <a:solidFill>
                  <a:schemeClr val="accent4"/>
                </a:solidFill>
                <a:prstDash val="sysDash"/>
                <a:round/>
              </a:ln>
              <a:effectLst/>
            </c:spPr>
            <c:extLst>
              <c:ext xmlns:c16="http://schemas.microsoft.com/office/drawing/2014/chart" uri="{C3380CC4-5D6E-409C-BE32-E72D297353CC}">
                <c16:uniqueId val="{00000003-F9B1-481B-BAE7-80B1097DE81D}"/>
              </c:ext>
            </c:extLst>
          </c:dPt>
          <c:dPt>
            <c:idx val="28"/>
            <c:marker>
              <c:symbol val="circle"/>
              <c:size val="2"/>
              <c:spPr>
                <a:solidFill>
                  <a:schemeClr val="accent4"/>
                </a:solidFill>
                <a:ln w="9525">
                  <a:solidFill>
                    <a:schemeClr val="accent4"/>
                  </a:solidFill>
                </a:ln>
                <a:effectLst/>
              </c:spPr>
            </c:marker>
            <c:bubble3D val="0"/>
            <c:spPr>
              <a:ln w="6350" cap="rnd">
                <a:solidFill>
                  <a:schemeClr val="accent4"/>
                </a:solidFill>
                <a:prstDash val="sysDash"/>
                <a:round/>
              </a:ln>
              <a:effectLst/>
            </c:spPr>
            <c:extLst>
              <c:ext xmlns:c16="http://schemas.microsoft.com/office/drawing/2014/chart" uri="{C3380CC4-5D6E-409C-BE32-E72D297353CC}">
                <c16:uniqueId val="{00000005-F9B1-481B-BAE7-80B1097DE81D}"/>
              </c:ext>
            </c:extLst>
          </c:dPt>
          <c:xVal>
            <c:numRef>
              <c:f>'Propuesta MEN'!$J$97:$J$125</c:f>
              <c:numCache>
                <c:formatCode>General</c:formatCode>
                <c:ptCount val="2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21</c:v>
                </c:pt>
                <c:pt idx="20">
                  <c:v>2022</c:v>
                </c:pt>
                <c:pt idx="21">
                  <c:v>2023</c:v>
                </c:pt>
                <c:pt idx="22">
                  <c:v>2024</c:v>
                </c:pt>
                <c:pt idx="23">
                  <c:v>2025</c:v>
                </c:pt>
                <c:pt idx="24">
                  <c:v>2026</c:v>
                </c:pt>
                <c:pt idx="25">
                  <c:v>2027</c:v>
                </c:pt>
                <c:pt idx="26">
                  <c:v>2028</c:v>
                </c:pt>
                <c:pt idx="27">
                  <c:v>2029</c:v>
                </c:pt>
                <c:pt idx="28">
                  <c:v>2030</c:v>
                </c:pt>
              </c:numCache>
            </c:numRef>
          </c:xVal>
          <c:yVal>
            <c:numRef>
              <c:f>'Propuesta MEN'!$N$97:$N$125</c:f>
              <c:numCache>
                <c:formatCode>#,##0.0_ ;\-#,##0.0\ </c:formatCode>
                <c:ptCount val="29"/>
                <c:pt idx="0">
                  <c:v>13.570659903617342</c:v>
                </c:pt>
                <c:pt idx="1">
                  <c:v>13.770581233959378</c:v>
                </c:pt>
                <c:pt idx="2">
                  <c:v>13.976481072983891</c:v>
                </c:pt>
                <c:pt idx="3">
                  <c:v>14.120046135364992</c:v>
                </c:pt>
                <c:pt idx="4">
                  <c:v>14.301515516541654</c:v>
                </c:pt>
                <c:pt idx="5">
                  <c:v>14.389579035732181</c:v>
                </c:pt>
                <c:pt idx="6">
                  <c:v>14.487710076893404</c:v>
                </c:pt>
                <c:pt idx="7">
                  <c:v>14.725063865172693</c:v>
                </c:pt>
                <c:pt idx="8">
                  <c:v>15.213982001321005</c:v>
                </c:pt>
                <c:pt idx="9">
                  <c:v>16.038899350740607</c:v>
                </c:pt>
                <c:pt idx="10">
                  <c:v>16.656219781916651</c:v>
                </c:pt>
                <c:pt idx="11">
                  <c:v>17.22083740164264</c:v>
                </c:pt>
                <c:pt idx="12">
                  <c:v>17.676759723168733</c:v>
                </c:pt>
                <c:pt idx="13">
                  <c:v>18.444101305468873</c:v>
                </c:pt>
                <c:pt idx="14">
                  <c:v>18.952697772935167</c:v>
                </c:pt>
                <c:pt idx="15">
                  <c:v>19.539027051863766</c:v>
                </c:pt>
                <c:pt idx="16">
                  <c:v>19.787194203242223</c:v>
                </c:pt>
                <c:pt idx="17">
                  <c:v>19.720401986522415</c:v>
                </c:pt>
                <c:pt idx="18">
                  <c:v>19.409199629592244</c:v>
                </c:pt>
                <c:pt idx="19">
                  <c:v>24.598606688451646</c:v>
                </c:pt>
                <c:pt idx="20">
                  <c:v>24.598606688451646</c:v>
                </c:pt>
                <c:pt idx="21">
                  <c:v>24.598606688451646</c:v>
                </c:pt>
                <c:pt idx="22">
                  <c:v>24.598606688451646</c:v>
                </c:pt>
                <c:pt idx="23">
                  <c:v>28.850217721023533</c:v>
                </c:pt>
                <c:pt idx="24">
                  <c:v>28.850217721023533</c:v>
                </c:pt>
                <c:pt idx="25">
                  <c:v>28.850217721023533</c:v>
                </c:pt>
                <c:pt idx="26">
                  <c:v>28.850217721023533</c:v>
                </c:pt>
                <c:pt idx="27">
                  <c:v>28.850217721023533</c:v>
                </c:pt>
                <c:pt idx="28">
                  <c:v>39.60792602377807</c:v>
                </c:pt>
              </c:numCache>
            </c:numRef>
          </c:yVal>
          <c:smooth val="0"/>
          <c:extLst>
            <c:ext xmlns:c16="http://schemas.microsoft.com/office/drawing/2014/chart" uri="{C3380CC4-5D6E-409C-BE32-E72D297353CC}">
              <c16:uniqueId val="{00000006-F9B1-481B-BAE7-80B1097DE81D}"/>
            </c:ext>
          </c:extLst>
        </c:ser>
        <c:ser>
          <c:idx val="7"/>
          <c:order val="1"/>
          <c:tx>
            <c:strRef>
              <c:f>'Propuesta MEN'!$I$126</c:f>
              <c:strCache>
                <c:ptCount val="1"/>
                <c:pt idx="0">
                  <c:v>Japón</c:v>
                </c:pt>
              </c:strCache>
            </c:strRef>
          </c:tx>
          <c:spPr>
            <a:ln w="6350" cap="rnd">
              <a:solidFill>
                <a:srgbClr val="002060"/>
              </a:solidFill>
              <a:round/>
            </a:ln>
            <a:effectLst/>
          </c:spPr>
          <c:marker>
            <c:symbol val="circle"/>
            <c:size val="2"/>
            <c:spPr>
              <a:solidFill>
                <a:schemeClr val="accent5">
                  <a:lumMod val="50000"/>
                </a:schemeClr>
              </a:solidFill>
              <a:ln w="9525">
                <a:solidFill>
                  <a:srgbClr val="002060"/>
                </a:solidFill>
              </a:ln>
              <a:effectLst/>
            </c:spPr>
          </c:marker>
          <c:dPt>
            <c:idx val="18"/>
            <c:marker>
              <c:symbol val="circle"/>
              <c:size val="2"/>
              <c:spPr>
                <a:solidFill>
                  <a:schemeClr val="accent5">
                    <a:lumMod val="50000"/>
                  </a:schemeClr>
                </a:solidFill>
                <a:ln w="9525">
                  <a:solidFill>
                    <a:srgbClr val="002060"/>
                  </a:solidFill>
                </a:ln>
                <a:effectLst/>
              </c:spPr>
            </c:marker>
            <c:bubble3D val="0"/>
            <c:spPr>
              <a:ln w="6350" cap="rnd">
                <a:solidFill>
                  <a:srgbClr val="002060"/>
                </a:solidFill>
                <a:prstDash val="sysDash"/>
                <a:round/>
              </a:ln>
              <a:effectLst/>
            </c:spPr>
            <c:extLst>
              <c:ext xmlns:c16="http://schemas.microsoft.com/office/drawing/2014/chart" uri="{C3380CC4-5D6E-409C-BE32-E72D297353CC}">
                <c16:uniqueId val="{00000008-F9B1-481B-BAE7-80B1097DE81D}"/>
              </c:ext>
            </c:extLst>
          </c:dPt>
          <c:xVal>
            <c:numRef>
              <c:f>'Propuesta MEN'!$J$126:$J$144</c:f>
              <c:numCache>
                <c:formatCode>General</c:formatCod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30</c:v>
                </c:pt>
              </c:numCache>
            </c:numRef>
          </c:xVal>
          <c:yVal>
            <c:numRef>
              <c:f>'Propuesta MEN'!$N$126:$N$144</c:f>
              <c:numCache>
                <c:formatCode>#,##0.0_ ;\-#,##0.0\ </c:formatCode>
                <c:ptCount val="19"/>
                <c:pt idx="0">
                  <c:v>12.52340640623208</c:v>
                </c:pt>
                <c:pt idx="1">
                  <c:v>12.875303776324552</c:v>
                </c:pt>
                <c:pt idx="2">
                  <c:v>13.315485102010861</c:v>
                </c:pt>
                <c:pt idx="3">
                  <c:v>13.399470386484554</c:v>
                </c:pt>
                <c:pt idx="4">
                  <c:v>13.657905525440714</c:v>
                </c:pt>
                <c:pt idx="5">
                  <c:v>13.74628020825239</c:v>
                </c:pt>
                <c:pt idx="6">
                  <c:v>14.094497197846236</c:v>
                </c:pt>
                <c:pt idx="7">
                  <c:v>14.180022059483653</c:v>
                </c:pt>
                <c:pt idx="8">
                  <c:v>14.771603257919763</c:v>
                </c:pt>
                <c:pt idx="9">
                  <c:v>16.016913196729995</c:v>
                </c:pt>
                <c:pt idx="10">
                  <c:v>16.172094362649869</c:v>
                </c:pt>
                <c:pt idx="11">
                  <c:v>17.22083740164264</c:v>
                </c:pt>
                <c:pt idx="12">
                  <c:v>18.458670105868137</c:v>
                </c:pt>
                <c:pt idx="13">
                  <c:v>19.670602991606955</c:v>
                </c:pt>
                <c:pt idx="14">
                  <c:v>20.250152819782549</c:v>
                </c:pt>
                <c:pt idx="15">
                  <c:v>20.110736965601603</c:v>
                </c:pt>
                <c:pt idx="16">
                  <c:v>20.320588133938315</c:v>
                </c:pt>
                <c:pt idx="17">
                  <c:v>20.391515143131819</c:v>
                </c:pt>
                <c:pt idx="18">
                  <c:v>31.794117488474914</c:v>
                </c:pt>
              </c:numCache>
            </c:numRef>
          </c:yVal>
          <c:smooth val="0"/>
          <c:extLst>
            <c:ext xmlns:c16="http://schemas.microsoft.com/office/drawing/2014/chart" uri="{C3380CC4-5D6E-409C-BE32-E72D297353CC}">
              <c16:uniqueId val="{00000009-F9B1-481B-BAE7-80B1097DE81D}"/>
            </c:ext>
          </c:extLst>
        </c:ser>
        <c:ser>
          <c:idx val="9"/>
          <c:order val="2"/>
          <c:tx>
            <c:strRef>
              <c:f>'Propuesta MEN'!$I$161</c:f>
              <c:strCache>
                <c:ptCount val="1"/>
                <c:pt idx="0">
                  <c:v>Estados Unidos</c:v>
                </c:pt>
              </c:strCache>
            </c:strRef>
          </c:tx>
          <c:spPr>
            <a:ln w="6350" cap="rnd">
              <a:solidFill>
                <a:schemeClr val="accent4">
                  <a:lumMod val="60000"/>
                </a:schemeClr>
              </a:solidFill>
              <a:round/>
            </a:ln>
            <a:effectLst/>
          </c:spPr>
          <c:marker>
            <c:symbol val="circle"/>
            <c:size val="2"/>
            <c:spPr>
              <a:solidFill>
                <a:schemeClr val="accent4">
                  <a:lumMod val="60000"/>
                </a:schemeClr>
              </a:solidFill>
              <a:ln w="9525">
                <a:solidFill>
                  <a:schemeClr val="accent4">
                    <a:lumMod val="60000"/>
                  </a:schemeClr>
                </a:solidFill>
              </a:ln>
              <a:effectLst/>
            </c:spPr>
          </c:marker>
          <c:dPt>
            <c:idx val="19"/>
            <c:marker>
              <c:symbol val="circle"/>
              <c:size val="2"/>
              <c:spPr>
                <a:solidFill>
                  <a:schemeClr val="accent4">
                    <a:lumMod val="60000"/>
                  </a:schemeClr>
                </a:solidFill>
                <a:ln w="9525">
                  <a:solidFill>
                    <a:schemeClr val="accent4">
                      <a:lumMod val="60000"/>
                    </a:schemeClr>
                  </a:solidFill>
                </a:ln>
                <a:effectLst/>
              </c:spPr>
            </c:marker>
            <c:bubble3D val="0"/>
            <c:spPr>
              <a:ln w="6350" cap="rnd">
                <a:solidFill>
                  <a:schemeClr val="accent4">
                    <a:lumMod val="60000"/>
                  </a:schemeClr>
                </a:solidFill>
                <a:prstDash val="sysDash"/>
                <a:round/>
              </a:ln>
              <a:effectLst/>
            </c:spPr>
            <c:extLst>
              <c:ext xmlns:c16="http://schemas.microsoft.com/office/drawing/2014/chart" uri="{C3380CC4-5D6E-409C-BE32-E72D297353CC}">
                <c16:uniqueId val="{0000000B-F9B1-481B-BAE7-80B1097DE81D}"/>
              </c:ext>
            </c:extLst>
          </c:dPt>
          <c:dPt>
            <c:idx val="20"/>
            <c:marker>
              <c:symbol val="circle"/>
              <c:size val="2"/>
              <c:spPr>
                <a:solidFill>
                  <a:schemeClr val="accent4">
                    <a:lumMod val="60000"/>
                  </a:schemeClr>
                </a:solidFill>
                <a:ln w="9525">
                  <a:solidFill>
                    <a:schemeClr val="accent4">
                      <a:lumMod val="60000"/>
                    </a:schemeClr>
                  </a:solidFill>
                </a:ln>
                <a:effectLst/>
              </c:spPr>
            </c:marker>
            <c:bubble3D val="0"/>
            <c:spPr>
              <a:ln w="6350" cap="rnd">
                <a:solidFill>
                  <a:schemeClr val="accent4">
                    <a:lumMod val="60000"/>
                  </a:schemeClr>
                </a:solidFill>
                <a:prstDash val="sysDash"/>
                <a:round/>
              </a:ln>
              <a:effectLst/>
            </c:spPr>
            <c:extLst>
              <c:ext xmlns:c16="http://schemas.microsoft.com/office/drawing/2014/chart" uri="{C3380CC4-5D6E-409C-BE32-E72D297353CC}">
                <c16:uniqueId val="{0000000D-F9B1-481B-BAE7-80B1097DE81D}"/>
              </c:ext>
            </c:extLst>
          </c:dPt>
          <c:dPt>
            <c:idx val="21"/>
            <c:marker>
              <c:symbol val="circle"/>
              <c:size val="2"/>
              <c:spPr>
                <a:solidFill>
                  <a:schemeClr val="accent4">
                    <a:lumMod val="60000"/>
                  </a:schemeClr>
                </a:solidFill>
                <a:ln w="9525">
                  <a:solidFill>
                    <a:schemeClr val="accent4">
                      <a:lumMod val="60000"/>
                    </a:schemeClr>
                  </a:solidFill>
                </a:ln>
                <a:effectLst/>
              </c:spPr>
            </c:marker>
            <c:bubble3D val="0"/>
            <c:spPr>
              <a:ln w="6350" cap="rnd">
                <a:solidFill>
                  <a:schemeClr val="accent4">
                    <a:lumMod val="60000"/>
                  </a:schemeClr>
                </a:solidFill>
                <a:prstDash val="sysDash"/>
                <a:round/>
              </a:ln>
              <a:effectLst/>
            </c:spPr>
            <c:extLst>
              <c:ext xmlns:c16="http://schemas.microsoft.com/office/drawing/2014/chart" uri="{C3380CC4-5D6E-409C-BE32-E72D297353CC}">
                <c16:uniqueId val="{0000000F-F9B1-481B-BAE7-80B1097DE81D}"/>
              </c:ext>
            </c:extLst>
          </c:dPt>
          <c:dPt>
            <c:idx val="22"/>
            <c:marker>
              <c:symbol val="circle"/>
              <c:size val="2"/>
              <c:spPr>
                <a:solidFill>
                  <a:schemeClr val="accent4">
                    <a:lumMod val="60000"/>
                  </a:schemeClr>
                </a:solidFill>
                <a:ln w="9525">
                  <a:solidFill>
                    <a:schemeClr val="accent4">
                      <a:lumMod val="60000"/>
                    </a:schemeClr>
                  </a:solidFill>
                </a:ln>
                <a:effectLst/>
              </c:spPr>
            </c:marker>
            <c:bubble3D val="0"/>
            <c:spPr>
              <a:ln w="6350" cap="rnd">
                <a:solidFill>
                  <a:schemeClr val="accent4">
                    <a:lumMod val="60000"/>
                  </a:schemeClr>
                </a:solidFill>
                <a:prstDash val="sysDash"/>
                <a:round/>
              </a:ln>
              <a:effectLst/>
            </c:spPr>
            <c:extLst>
              <c:ext xmlns:c16="http://schemas.microsoft.com/office/drawing/2014/chart" uri="{C3380CC4-5D6E-409C-BE32-E72D297353CC}">
                <c16:uniqueId val="{00000011-F9B1-481B-BAE7-80B1097DE81D}"/>
              </c:ext>
            </c:extLst>
          </c:dPt>
          <c:dPt>
            <c:idx val="23"/>
            <c:marker>
              <c:symbol val="circle"/>
              <c:size val="2"/>
              <c:spPr>
                <a:solidFill>
                  <a:schemeClr val="accent4">
                    <a:lumMod val="60000"/>
                  </a:schemeClr>
                </a:solidFill>
                <a:ln w="9525">
                  <a:solidFill>
                    <a:schemeClr val="accent4">
                      <a:lumMod val="60000"/>
                    </a:schemeClr>
                  </a:solidFill>
                </a:ln>
                <a:effectLst/>
              </c:spPr>
            </c:marker>
            <c:bubble3D val="0"/>
            <c:spPr>
              <a:ln w="6350" cap="rnd">
                <a:solidFill>
                  <a:schemeClr val="accent4">
                    <a:lumMod val="60000"/>
                  </a:schemeClr>
                </a:solidFill>
                <a:prstDash val="sysDash"/>
                <a:round/>
              </a:ln>
              <a:effectLst/>
            </c:spPr>
            <c:extLst>
              <c:ext xmlns:c16="http://schemas.microsoft.com/office/drawing/2014/chart" uri="{C3380CC4-5D6E-409C-BE32-E72D297353CC}">
                <c16:uniqueId val="{00000013-F9B1-481B-BAE7-80B1097DE81D}"/>
              </c:ext>
            </c:extLst>
          </c:dPt>
          <c:dPt>
            <c:idx val="24"/>
            <c:marker>
              <c:symbol val="circle"/>
              <c:size val="2"/>
              <c:spPr>
                <a:solidFill>
                  <a:schemeClr val="accent4">
                    <a:lumMod val="60000"/>
                  </a:schemeClr>
                </a:solidFill>
                <a:ln w="9525">
                  <a:solidFill>
                    <a:schemeClr val="accent4">
                      <a:lumMod val="60000"/>
                    </a:schemeClr>
                  </a:solidFill>
                </a:ln>
                <a:effectLst/>
              </c:spPr>
            </c:marker>
            <c:bubble3D val="0"/>
            <c:spPr>
              <a:ln w="6350" cap="rnd">
                <a:solidFill>
                  <a:schemeClr val="accent4">
                    <a:lumMod val="60000"/>
                  </a:schemeClr>
                </a:solidFill>
                <a:prstDash val="sysDash"/>
                <a:round/>
              </a:ln>
              <a:effectLst/>
            </c:spPr>
            <c:extLst>
              <c:ext xmlns:c16="http://schemas.microsoft.com/office/drawing/2014/chart" uri="{C3380CC4-5D6E-409C-BE32-E72D297353CC}">
                <c16:uniqueId val="{00000015-F9B1-481B-BAE7-80B1097DE81D}"/>
              </c:ext>
            </c:extLst>
          </c:dPt>
          <c:dPt>
            <c:idx val="25"/>
            <c:marker>
              <c:symbol val="circle"/>
              <c:size val="2"/>
              <c:spPr>
                <a:solidFill>
                  <a:schemeClr val="accent4">
                    <a:lumMod val="60000"/>
                  </a:schemeClr>
                </a:solidFill>
                <a:ln w="9525">
                  <a:solidFill>
                    <a:schemeClr val="accent4">
                      <a:lumMod val="60000"/>
                    </a:schemeClr>
                  </a:solidFill>
                </a:ln>
                <a:effectLst/>
              </c:spPr>
            </c:marker>
            <c:bubble3D val="0"/>
            <c:spPr>
              <a:ln w="6350" cap="rnd">
                <a:solidFill>
                  <a:schemeClr val="accent4">
                    <a:lumMod val="60000"/>
                  </a:schemeClr>
                </a:solidFill>
                <a:prstDash val="sysDash"/>
                <a:round/>
              </a:ln>
              <a:effectLst/>
            </c:spPr>
            <c:extLst>
              <c:ext xmlns:c16="http://schemas.microsoft.com/office/drawing/2014/chart" uri="{C3380CC4-5D6E-409C-BE32-E72D297353CC}">
                <c16:uniqueId val="{00000017-F9B1-481B-BAE7-80B1097DE81D}"/>
              </c:ext>
            </c:extLst>
          </c:dPt>
          <c:xVal>
            <c:numRef>
              <c:f>'Propuesta MEN'!$J$161:$J$186</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xVal>
          <c:yVal>
            <c:numRef>
              <c:f>'Propuesta MEN'!$N$161:$N$186</c:f>
              <c:numCache>
                <c:formatCode>#,##0.0_ ;\-#,##0.0\ </c:formatCode>
                <c:ptCount val="26"/>
                <c:pt idx="0">
                  <c:v>11.300133633476335</c:v>
                </c:pt>
                <c:pt idx="1">
                  <c:v>11.388243837246133</c:v>
                </c:pt>
                <c:pt idx="2">
                  <c:v>11.472104248418784</c:v>
                </c:pt>
                <c:pt idx="3">
                  <c:v>11.60311636247719</c:v>
                </c:pt>
                <c:pt idx="4">
                  <c:v>11.60311636247719</c:v>
                </c:pt>
                <c:pt idx="5">
                  <c:v>11.856253857954878</c:v>
                </c:pt>
                <c:pt idx="6">
                  <c:v>11.725376996502288</c:v>
                </c:pt>
                <c:pt idx="7">
                  <c:v>12.20296415353998</c:v>
                </c:pt>
                <c:pt idx="8">
                  <c:v>12.292833431893246</c:v>
                </c:pt>
                <c:pt idx="9">
                  <c:v>12.982597974460591</c:v>
                </c:pt>
                <c:pt idx="10">
                  <c:v>13.240043260073122</c:v>
                </c:pt>
                <c:pt idx="11">
                  <c:v>13.069729504490526</c:v>
                </c:pt>
                <c:pt idx="12">
                  <c:v>13.984845214858804</c:v>
                </c:pt>
                <c:pt idx="13">
                  <c:v>14.469768640265674</c:v>
                </c:pt>
                <c:pt idx="14">
                  <c:v>14.51470580995594</c:v>
                </c:pt>
                <c:pt idx="15">
                  <c:v>14.913003416738395</c:v>
                </c:pt>
                <c:pt idx="16">
                  <c:v>15.096044156349523</c:v>
                </c:pt>
                <c:pt idx="17">
                  <c:v>16.02789873390196</c:v>
                </c:pt>
                <c:pt idx="18">
                  <c:v>17.22083740164264</c:v>
                </c:pt>
                <c:pt idx="19">
                  <c:v>17.907031688911157</c:v>
                </c:pt>
                <c:pt idx="20">
                  <c:v>18.679997085554806</c:v>
                </c:pt>
                <c:pt idx="21">
                  <c:v>19.621054873240187</c:v>
                </c:pt>
                <c:pt idx="22">
                  <c:v>21.033912109837139</c:v>
                </c:pt>
                <c:pt idx="23">
                  <c:v>21.839884443017816</c:v>
                </c:pt>
                <c:pt idx="24">
                  <c:v>22.710083920339223</c:v>
                </c:pt>
                <c:pt idx="25">
                  <c:v>23.628590853416643</c:v>
                </c:pt>
              </c:numCache>
            </c:numRef>
          </c:yVal>
          <c:smooth val="0"/>
          <c:extLst>
            <c:ext xmlns:c16="http://schemas.microsoft.com/office/drawing/2014/chart" uri="{C3380CC4-5D6E-409C-BE32-E72D297353CC}">
              <c16:uniqueId val="{00000018-F9B1-481B-BAE7-80B1097DE81D}"/>
            </c:ext>
          </c:extLst>
        </c:ser>
        <c:ser>
          <c:idx val="0"/>
          <c:order val="3"/>
          <c:tx>
            <c:strRef>
              <c:f>'Propuesta MEN'!$I$35</c:f>
              <c:strCache>
                <c:ptCount val="1"/>
                <c:pt idx="0">
                  <c:v>Chile Histórico</c:v>
                </c:pt>
              </c:strCache>
            </c:strRef>
          </c:tx>
          <c:spPr>
            <a:ln w="9525" cap="rnd">
              <a:solidFill>
                <a:srgbClr val="FF0000"/>
              </a:solidFill>
              <a:round/>
            </a:ln>
            <a:effectLst/>
          </c:spPr>
          <c:marker>
            <c:symbol val="circle"/>
            <c:size val="2"/>
            <c:spPr>
              <a:solidFill>
                <a:srgbClr val="FF0000"/>
              </a:solidFill>
              <a:ln w="9525">
                <a:solidFill>
                  <a:srgbClr val="FF0000"/>
                </a:solidFill>
              </a:ln>
              <a:effectLst/>
            </c:spPr>
          </c:marker>
          <c:xVal>
            <c:numRef>
              <c:f>'Propuesta MEN'!$J$35:$J$44</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Propuesta MEN'!$N$35:$N$44</c:f>
              <c:numCache>
                <c:formatCode>#,##0.0_ ;\-#,##0.0\ </c:formatCode>
                <c:ptCount val="10"/>
                <c:pt idx="0">
                  <c:v>13.300328033027355</c:v>
                </c:pt>
                <c:pt idx="1">
                  <c:v>13.547058755958876</c:v>
                </c:pt>
                <c:pt idx="2">
                  <c:v>13.976481072983891</c:v>
                </c:pt>
                <c:pt idx="3">
                  <c:v>14.661068975987979</c:v>
                </c:pt>
                <c:pt idx="4">
                  <c:v>15.17997600651179</c:v>
                </c:pt>
                <c:pt idx="5">
                  <c:v>15.282204528478955</c:v>
                </c:pt>
                <c:pt idx="6">
                  <c:v>15.437368170169005</c:v>
                </c:pt>
                <c:pt idx="7">
                  <c:v>15.344117146656128</c:v>
                </c:pt>
                <c:pt idx="8">
                  <c:v>15.344485442762215</c:v>
                </c:pt>
                <c:pt idx="9">
                  <c:v>15.4242734025178</c:v>
                </c:pt>
              </c:numCache>
            </c:numRef>
          </c:yVal>
          <c:smooth val="0"/>
          <c:extLst>
            <c:ext xmlns:c16="http://schemas.microsoft.com/office/drawing/2014/chart" uri="{C3380CC4-5D6E-409C-BE32-E72D297353CC}">
              <c16:uniqueId val="{00000019-F9B1-481B-BAE7-80B1097DE81D}"/>
            </c:ext>
          </c:extLst>
        </c:ser>
        <c:ser>
          <c:idx val="1"/>
          <c:order val="4"/>
          <c:tx>
            <c:strRef>
              <c:f>'Propuesta MEN'!$I$45</c:f>
              <c:strCache>
                <c:ptCount val="1"/>
                <c:pt idx="0">
                  <c:v>Chile LB</c:v>
                </c:pt>
              </c:strCache>
            </c:strRef>
          </c:tx>
          <c:spPr>
            <a:ln w="6350" cap="rnd">
              <a:solidFill>
                <a:srgbClr val="FF0000"/>
              </a:solidFill>
              <a:prstDash val="sysDash"/>
              <a:round/>
            </a:ln>
            <a:effectLst/>
          </c:spPr>
          <c:marker>
            <c:symbol val="circle"/>
            <c:size val="2"/>
            <c:spPr>
              <a:solidFill>
                <a:srgbClr val="FF0000"/>
              </a:solidFill>
              <a:ln w="9525">
                <a:solidFill>
                  <a:srgbClr val="FF0000"/>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1A-F9B1-481B-BAE7-80B1097DE81D}"/>
                </c:ext>
              </c:extLst>
            </c:dLbl>
            <c:dLbl>
              <c:idx val="1"/>
              <c:layout>
                <c:manualLayout>
                  <c:x val="-1.1953497789859184E-3"/>
                  <c:y val="-4.8135160277444486E-3"/>
                </c:manualLayout>
              </c:layout>
              <c:showLegendKey val="0"/>
              <c:showVal val="1"/>
              <c:showCatName val="1"/>
              <c:showSerName val="1"/>
              <c:showPercent val="0"/>
              <c:showBubbleSize val="0"/>
              <c:extLst>
                <c:ext xmlns:c15="http://schemas.microsoft.com/office/drawing/2012/chart" uri="{CE6537A1-D6FC-4f65-9D91-7224C49458BB}"/>
                <c:ext xmlns:c16="http://schemas.microsoft.com/office/drawing/2014/chart" uri="{C3380CC4-5D6E-409C-BE32-E72D297353CC}">
                  <c16:uniqueId val="{0000001B-F9B1-481B-BAE7-80B1097DE81D}"/>
                </c:ext>
              </c:extLst>
            </c:dLbl>
            <c:spPr>
              <a:noFill/>
              <a:ln>
                <a:noFill/>
              </a:ln>
              <a:effectLst/>
            </c:spPr>
            <c:txPr>
              <a:bodyPr rot="0" spcFirstLastPara="1" vertOverflow="ellipsis" vert="horz" wrap="square" anchor="ctr" anchorCtr="1"/>
              <a:lstStyle/>
              <a:p>
                <a:pPr>
                  <a:defRPr sz="600" b="0" i="0" u="none" strike="noStrike" kern="1200" baseline="0">
                    <a:solidFill>
                      <a:srgbClr val="FF0000"/>
                    </a:solidFill>
                    <a:latin typeface="+mn-lt"/>
                    <a:ea typeface="+mn-ea"/>
                    <a:cs typeface="+mn-cs"/>
                  </a:defRPr>
                </a:pPr>
                <a:endParaRPr lang="de-DE"/>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ropuesta MEN'!$J$45:$J$46</c:f>
              <c:numCache>
                <c:formatCode>General</c:formatCode>
                <c:ptCount val="2"/>
                <c:pt idx="0">
                  <c:v>2019</c:v>
                </c:pt>
                <c:pt idx="1">
                  <c:v>2030</c:v>
                </c:pt>
              </c:numCache>
            </c:numRef>
          </c:xVal>
          <c:yVal>
            <c:numRef>
              <c:f>'Propuesta MEN'!$N$45:$N$46</c:f>
              <c:numCache>
                <c:formatCode>#,##0.0_ ;\-#,##0.0\ </c:formatCode>
                <c:ptCount val="2"/>
                <c:pt idx="0">
                  <c:v>15.4242734025178</c:v>
                </c:pt>
                <c:pt idx="1">
                  <c:v>15.6</c:v>
                </c:pt>
              </c:numCache>
            </c:numRef>
          </c:yVal>
          <c:smooth val="0"/>
          <c:extLst>
            <c:ext xmlns:c16="http://schemas.microsoft.com/office/drawing/2014/chart" uri="{C3380CC4-5D6E-409C-BE32-E72D297353CC}">
              <c16:uniqueId val="{0000001C-F9B1-481B-BAE7-80B1097DE81D}"/>
            </c:ext>
          </c:extLst>
        </c:ser>
        <c:ser>
          <c:idx val="12"/>
          <c:order val="5"/>
          <c:tx>
            <c:strRef>
              <c:f>'Propuesta MEN'!$I$13</c:f>
              <c:strCache>
                <c:ptCount val="1"/>
                <c:pt idx="0">
                  <c:v>Chile_bajo</c:v>
                </c:pt>
              </c:strCache>
            </c:strRef>
          </c:tx>
          <c:spPr>
            <a:ln w="19050"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xVal>
            <c:numRef>
              <c:f>'Propuesta MEN'!$J$13:$J$23</c:f>
              <c:numCache>
                <c:formatCode>General</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xVal>
          <c:yVal>
            <c:numRef>
              <c:f>'Propuesta MEN'!$N$13:$N$23</c:f>
              <c:numCache>
                <c:formatCode>#,##0.0_ ;\-#,##0.0\ </c:formatCode>
                <c:ptCount val="11"/>
                <c:pt idx="0">
                  <c:v>15.4</c:v>
                </c:pt>
                <c:pt idx="1">
                  <c:v>15.4</c:v>
                </c:pt>
                <c:pt idx="2">
                  <c:v>15.4</c:v>
                </c:pt>
                <c:pt idx="3">
                  <c:v>15.4</c:v>
                </c:pt>
                <c:pt idx="4">
                  <c:v>17.600000000000001</c:v>
                </c:pt>
                <c:pt idx="5">
                  <c:v>17.600000000000001</c:v>
                </c:pt>
                <c:pt idx="6">
                  <c:v>17.600000000000001</c:v>
                </c:pt>
                <c:pt idx="7">
                  <c:v>19.8</c:v>
                </c:pt>
                <c:pt idx="8">
                  <c:v>19.8</c:v>
                </c:pt>
                <c:pt idx="9">
                  <c:v>19.8</c:v>
                </c:pt>
                <c:pt idx="10">
                  <c:v>24.598606688451646</c:v>
                </c:pt>
              </c:numCache>
            </c:numRef>
          </c:yVal>
          <c:smooth val="0"/>
          <c:extLst>
            <c:ext xmlns:c16="http://schemas.microsoft.com/office/drawing/2014/chart" uri="{C3380CC4-5D6E-409C-BE32-E72D297353CC}">
              <c16:uniqueId val="{0000001D-F9B1-481B-BAE7-80B1097DE81D}"/>
            </c:ext>
          </c:extLst>
        </c:ser>
        <c:ser>
          <c:idx val="10"/>
          <c:order val="6"/>
          <c:tx>
            <c:strRef>
              <c:f>'Propuesta MEN'!$I$2</c:f>
              <c:strCache>
                <c:ptCount val="1"/>
                <c:pt idx="0">
                  <c:v>Chile_medio</c:v>
                </c:pt>
              </c:strCache>
            </c:strRef>
          </c:tx>
          <c:spPr>
            <a:ln w="19050"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xVal>
            <c:numRef>
              <c:f>'Propuesta MEN'!$J$2:$J$12</c:f>
              <c:numCache>
                <c:formatCode>General</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xVal>
          <c:yVal>
            <c:numRef>
              <c:f>'Propuesta MEN'!$N$2:$N$12</c:f>
              <c:numCache>
                <c:formatCode>#,##0.0_ ;\-#,##0.0\ </c:formatCode>
                <c:ptCount val="11"/>
                <c:pt idx="0">
                  <c:v>15.4</c:v>
                </c:pt>
                <c:pt idx="1">
                  <c:v>15.4</c:v>
                </c:pt>
                <c:pt idx="2">
                  <c:v>15.4</c:v>
                </c:pt>
                <c:pt idx="3">
                  <c:v>15.4</c:v>
                </c:pt>
                <c:pt idx="4">
                  <c:v>19.787194203242223</c:v>
                </c:pt>
                <c:pt idx="5">
                  <c:v>19.787194203242223</c:v>
                </c:pt>
                <c:pt idx="6">
                  <c:v>19.787194203242223</c:v>
                </c:pt>
                <c:pt idx="7">
                  <c:v>24.598606688451646</c:v>
                </c:pt>
                <c:pt idx="8">
                  <c:v>24.598606688451646</c:v>
                </c:pt>
                <c:pt idx="9">
                  <c:v>24.598606688451646</c:v>
                </c:pt>
                <c:pt idx="10">
                  <c:v>28.850217721023533</c:v>
                </c:pt>
              </c:numCache>
            </c:numRef>
          </c:yVal>
          <c:smooth val="0"/>
          <c:extLst>
            <c:ext xmlns:c16="http://schemas.microsoft.com/office/drawing/2014/chart" uri="{C3380CC4-5D6E-409C-BE32-E72D297353CC}">
              <c16:uniqueId val="{0000001E-F9B1-481B-BAE7-80B1097DE81D}"/>
            </c:ext>
          </c:extLst>
        </c:ser>
        <c:ser>
          <c:idx val="11"/>
          <c:order val="7"/>
          <c:tx>
            <c:strRef>
              <c:f>'Propuesta MEN'!$I$24</c:f>
              <c:strCache>
                <c:ptCount val="1"/>
                <c:pt idx="0">
                  <c:v>Chile_alto</c:v>
                </c:pt>
              </c:strCache>
            </c:strRef>
          </c:tx>
          <c:spPr>
            <a:ln w="19050"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xVal>
            <c:numRef>
              <c:f>'Propuesta MEN'!$J$24:$J$34</c:f>
              <c:numCache>
                <c:formatCode>General</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xVal>
          <c:yVal>
            <c:numRef>
              <c:f>'Propuesta MEN'!$N$24:$N$34</c:f>
              <c:numCache>
                <c:formatCode>#,##0.0_ ;\-#,##0.0\ </c:formatCode>
                <c:ptCount val="11"/>
                <c:pt idx="0">
                  <c:v>15.4</c:v>
                </c:pt>
                <c:pt idx="1">
                  <c:v>15.4</c:v>
                </c:pt>
                <c:pt idx="2">
                  <c:v>15.4</c:v>
                </c:pt>
                <c:pt idx="3">
                  <c:v>15.4</c:v>
                </c:pt>
                <c:pt idx="4">
                  <c:v>22.5</c:v>
                </c:pt>
                <c:pt idx="5">
                  <c:v>22.5</c:v>
                </c:pt>
                <c:pt idx="6">
                  <c:v>22.5</c:v>
                </c:pt>
                <c:pt idx="7">
                  <c:v>27.3</c:v>
                </c:pt>
                <c:pt idx="8">
                  <c:v>27.3</c:v>
                </c:pt>
                <c:pt idx="9">
                  <c:v>27.3</c:v>
                </c:pt>
                <c:pt idx="10">
                  <c:v>28.9</c:v>
                </c:pt>
              </c:numCache>
            </c:numRef>
          </c:yVal>
          <c:smooth val="0"/>
          <c:extLst>
            <c:ext xmlns:c16="http://schemas.microsoft.com/office/drawing/2014/chart" uri="{C3380CC4-5D6E-409C-BE32-E72D297353CC}">
              <c16:uniqueId val="{0000001F-F9B1-481B-BAE7-80B1097DE81D}"/>
            </c:ext>
          </c:extLst>
        </c:ser>
        <c:dLbls>
          <c:showLegendKey val="0"/>
          <c:showVal val="0"/>
          <c:showCatName val="0"/>
          <c:showSerName val="0"/>
          <c:showPercent val="0"/>
          <c:showBubbleSize val="0"/>
        </c:dLbls>
        <c:axId val="1575563007"/>
        <c:axId val="1575574239"/>
      </c:scatterChart>
      <c:valAx>
        <c:axId val="1575563007"/>
        <c:scaling>
          <c:orientation val="minMax"/>
          <c:min val="200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de-DE"/>
          </a:p>
        </c:txPr>
        <c:crossAx val="1575574239"/>
        <c:crosses val="autoZero"/>
        <c:crossBetween val="midCat"/>
      </c:valAx>
      <c:valAx>
        <c:axId val="1575574239"/>
        <c:scaling>
          <c:orientation val="minMax"/>
          <c:max val="40"/>
          <c:min val="1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r>
                  <a:rPr lang="es-CL" sz="1100"/>
                  <a:t>Rendimiento Energético ciclo NEDC (km/lge)</a:t>
                </a:r>
              </a:p>
            </c:rich>
          </c:tx>
          <c:layout>
            <c:manualLayout>
              <c:xMode val="edge"/>
              <c:yMode val="edge"/>
              <c:x val="1.8854439668222957E-2"/>
              <c:y val="0.2408306208722194"/>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de-DE"/>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de-DE"/>
          </a:p>
        </c:txPr>
        <c:crossAx val="1575563007"/>
        <c:crosses val="autoZero"/>
        <c:crossBetween val="midCat"/>
      </c:valAx>
      <c:spPr>
        <a:noFill/>
        <a:ln>
          <a:noFill/>
        </a:ln>
        <a:effectLst/>
      </c:spPr>
    </c:plotArea>
    <c:legend>
      <c:legendPos val="t"/>
      <c:layout>
        <c:manualLayout>
          <c:xMode val="edge"/>
          <c:yMode val="edge"/>
          <c:x val="3.8820459712925307E-4"/>
          <c:y val="1.8175746393741726E-2"/>
          <c:w val="0.96450916349984095"/>
          <c:h val="0.11842842805363499"/>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sz="800">
          <a:solidFill>
            <a:sysClr val="windowText" lastClr="000000"/>
          </a:solidFill>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bar"/>
        <c:grouping val="clustered"/>
        <c:varyColors val="0"/>
        <c:ser>
          <c:idx val="0"/>
          <c:order val="0"/>
          <c:tx>
            <c:strRef>
              <c:f>Hoja2!$B$1</c:f>
              <c:strCache>
                <c:ptCount val="1"/>
                <c:pt idx="0">
                  <c:v>Ventas de importadores que cumplen</c:v>
                </c:pt>
              </c:strCache>
            </c:strRef>
          </c:tx>
          <c:spPr>
            <a:solidFill>
              <a:schemeClr val="accent3"/>
            </a:solidFill>
            <a:ln w="19050">
              <a:solidFill>
                <a:schemeClr val="lt1"/>
              </a:solidFill>
            </a:ln>
            <a:effectLst/>
          </c:spPr>
          <c:invertIfNegative val="0"/>
          <c:dLbls>
            <c:dLbl>
              <c:idx val="0"/>
              <c:layout>
                <c:manualLayout>
                  <c:x val="-1.899335232668531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D4E-43BB-84B2-13B1AE2278DA}"/>
                </c:ext>
              </c:extLst>
            </c:dLbl>
            <c:dLbl>
              <c:idx val="1"/>
              <c:layout>
                <c:manualLayout>
                  <c:x val="-1.7094017094017096E-2"/>
                  <c:y val="-9.4229705759857393E-3"/>
                </c:manualLayout>
              </c:layout>
              <c:spPr>
                <a:noFill/>
                <a:ln>
                  <a:noFill/>
                </a:ln>
                <a:effectLst/>
              </c:spPr>
              <c:txPr>
                <a:bodyPr rot="0" spcFirstLastPara="1" vertOverflow="ellipsis" vert="horz" wrap="square" lIns="38100" tIns="19050" rIns="38100" bIns="19050" anchor="ctr" anchorCtr="1">
                  <a:noAutofit/>
                </a:bodyPr>
                <a:lstStyle/>
                <a:p>
                  <a:pPr>
                    <a:defRPr sz="1500" b="0" i="0" u="none" strike="noStrike" kern="1200" baseline="0">
                      <a:solidFill>
                        <a:schemeClr val="bg2">
                          <a:lumMod val="10000"/>
                        </a:schemeClr>
                      </a:solidFill>
                      <a:latin typeface="+mn-lt"/>
                      <a:ea typeface="+mn-ea"/>
                      <a:cs typeface="+mn-cs"/>
                    </a:defRPr>
                  </a:pPr>
                  <a:endParaRPr lang="de-DE"/>
                </a:p>
              </c:txPr>
              <c:showLegendKey val="0"/>
              <c:showVal val="1"/>
              <c:showCatName val="0"/>
              <c:showSerName val="0"/>
              <c:showPercent val="0"/>
              <c:showBubbleSize val="0"/>
              <c:extLst>
                <c:ext xmlns:c15="http://schemas.microsoft.com/office/drawing/2012/chart" uri="{CE6537A1-D6FC-4f65-9D91-7224C49458BB}">
                  <c15:layout>
                    <c:manualLayout>
                      <c:w val="9.0037911927675712E-2"/>
                      <c:h val="3.7644397091134998E-2"/>
                    </c:manualLayout>
                  </c15:layout>
                </c:ext>
                <c:ext xmlns:c16="http://schemas.microsoft.com/office/drawing/2014/chart" uri="{C3380CC4-5D6E-409C-BE32-E72D297353CC}">
                  <c16:uniqueId val="{00000001-ED4E-43BB-84B2-13B1AE2278DA}"/>
                </c:ext>
              </c:extLst>
            </c:dLbl>
            <c:spPr>
              <a:noFill/>
              <a:ln>
                <a:noFill/>
              </a:ln>
              <a:effectLst/>
            </c:spPr>
            <c:txPr>
              <a:bodyPr rot="0" spcFirstLastPara="1" vertOverflow="ellipsis" vert="horz" wrap="square" lIns="38100" tIns="19050" rIns="38100" bIns="19050" anchor="ctr" anchorCtr="1">
                <a:spAutoFit/>
              </a:bodyPr>
              <a:lstStyle/>
              <a:p>
                <a:pPr>
                  <a:defRPr sz="1500" b="0" i="0" u="none" strike="noStrike" kern="1200" baseline="0">
                    <a:solidFill>
                      <a:schemeClr val="bg2">
                        <a:lumMod val="10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2!$A$2:$A$9</c:f>
              <c:strCache>
                <c:ptCount val="8"/>
                <c:pt idx="0">
                  <c:v>BYD Chile S.P.A. </c:v>
                </c:pt>
                <c:pt idx="1">
                  <c:v>Comercializadora Ditec Automóviles S.A. </c:v>
                </c:pt>
                <c:pt idx="2">
                  <c:v>Tesla Chile SPA </c:v>
                </c:pt>
                <c:pt idx="3">
                  <c:v>Williamson Balfour Motors S.P.A. </c:v>
                </c:pt>
                <c:pt idx="4">
                  <c:v>Citröen Chile S.P.A. </c:v>
                </c:pt>
                <c:pt idx="5">
                  <c:v>Toyota Chile S.A. </c:v>
                </c:pt>
                <c:pt idx="6">
                  <c:v>PSA Chile S.A. </c:v>
                </c:pt>
                <c:pt idx="7">
                  <c:v>Astara Chile S.P.A. </c:v>
                </c:pt>
              </c:strCache>
            </c:strRef>
          </c:cat>
          <c:val>
            <c:numRef>
              <c:f>Hoja2!$B$2:$B$9</c:f>
              <c:numCache>
                <c:formatCode>#,##0</c:formatCode>
                <c:ptCount val="8"/>
                <c:pt idx="0">
                  <c:v>2</c:v>
                </c:pt>
                <c:pt idx="1">
                  <c:v>246</c:v>
                </c:pt>
                <c:pt idx="2">
                  <c:v>428</c:v>
                </c:pt>
                <c:pt idx="3">
                  <c:v>565</c:v>
                </c:pt>
                <c:pt idx="4">
                  <c:v>2446</c:v>
                </c:pt>
                <c:pt idx="5">
                  <c:v>3773</c:v>
                </c:pt>
                <c:pt idx="6">
                  <c:v>5415</c:v>
                </c:pt>
                <c:pt idx="7">
                  <c:v>7041</c:v>
                </c:pt>
              </c:numCache>
            </c:numRef>
          </c:val>
          <c:extLst>
            <c:ext xmlns:c16="http://schemas.microsoft.com/office/drawing/2014/chart" uri="{C3380CC4-5D6E-409C-BE32-E72D297353CC}">
              <c16:uniqueId val="{00000002-ED4E-43BB-84B2-13B1AE2278DA}"/>
            </c:ext>
          </c:extLst>
        </c:ser>
        <c:dLbls>
          <c:showLegendKey val="0"/>
          <c:showVal val="0"/>
          <c:showCatName val="0"/>
          <c:showSerName val="0"/>
          <c:showPercent val="0"/>
          <c:showBubbleSize val="0"/>
        </c:dLbls>
        <c:gapWidth val="150"/>
        <c:axId val="330215247"/>
        <c:axId val="330200367"/>
      </c:barChart>
      <c:valAx>
        <c:axId val="330200367"/>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2">
                    <a:lumMod val="10000"/>
                  </a:schemeClr>
                </a:solidFill>
                <a:latin typeface="+mn-lt"/>
                <a:ea typeface="+mn-ea"/>
                <a:cs typeface="+mn-cs"/>
              </a:defRPr>
            </a:pPr>
            <a:endParaRPr lang="de-DE"/>
          </a:p>
        </c:txPr>
        <c:crossAx val="330215247"/>
        <c:crosses val="autoZero"/>
        <c:crossBetween val="between"/>
      </c:valAx>
      <c:catAx>
        <c:axId val="330215247"/>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500" b="0" i="0" u="none" strike="noStrike" kern="1200" baseline="0">
                <a:solidFill>
                  <a:schemeClr val="bg2">
                    <a:lumMod val="10000"/>
                  </a:schemeClr>
                </a:solidFill>
                <a:latin typeface="+mn-lt"/>
                <a:ea typeface="+mn-ea"/>
                <a:cs typeface="+mn-cs"/>
              </a:defRPr>
            </a:pPr>
            <a:endParaRPr lang="de-DE"/>
          </a:p>
        </c:txPr>
        <c:crossAx val="330200367"/>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A3FED3-5D68-47A9-A535-B770C37AA874}"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92D21A3D-1614-4B53-AB88-72F7E119121D}">
      <dgm:prSet/>
      <dgm:spPr/>
      <dgm:t>
        <a:bodyPr/>
        <a:lstStyle/>
        <a:p>
          <a:pPr>
            <a:lnSpc>
              <a:spcPct val="100000"/>
            </a:lnSpc>
          </a:pPr>
          <a:r>
            <a:rPr lang="en-US" b="1" dirty="0"/>
            <a:t>Stages of the Policy for Energy Performance Standards for Vehicles</a:t>
          </a:r>
          <a:r>
            <a:rPr lang="es-MX" b="1" dirty="0"/>
            <a:t>.</a:t>
          </a:r>
          <a:endParaRPr lang="en-US" dirty="0"/>
        </a:p>
      </dgm:t>
    </dgm:pt>
    <dgm:pt modelId="{1766F1AD-8B07-4438-9607-2BA03EF0EE69}" type="parTrans" cxnId="{0C3AC3BE-6292-468B-AAD6-EE151ED575FE}">
      <dgm:prSet/>
      <dgm:spPr/>
      <dgm:t>
        <a:bodyPr/>
        <a:lstStyle/>
        <a:p>
          <a:endParaRPr lang="en-US"/>
        </a:p>
      </dgm:t>
    </dgm:pt>
    <dgm:pt modelId="{23DF7A52-5AD3-4788-BB9C-CBA2218DBA52}" type="sibTrans" cxnId="{0C3AC3BE-6292-468B-AAD6-EE151ED575FE}">
      <dgm:prSet/>
      <dgm:spPr/>
      <dgm:t>
        <a:bodyPr/>
        <a:lstStyle/>
        <a:p>
          <a:endParaRPr lang="en-US"/>
        </a:p>
      </dgm:t>
    </dgm:pt>
    <dgm:pt modelId="{A9A63276-413D-41C1-A90F-783A8EB9699A}">
      <dgm:prSet/>
      <dgm:spPr/>
      <dgm:t>
        <a:bodyPr/>
        <a:lstStyle/>
        <a:p>
          <a:pPr>
            <a:lnSpc>
              <a:spcPct val="100000"/>
            </a:lnSpc>
          </a:pPr>
          <a:r>
            <a:rPr lang="es-MX" b="1" dirty="0" err="1"/>
            <a:t>Implementation</a:t>
          </a:r>
          <a:r>
            <a:rPr lang="es-MX" b="1" dirty="0"/>
            <a:t> </a:t>
          </a:r>
          <a:r>
            <a:rPr lang="es-MX" b="1" dirty="0" err="1"/>
            <a:t>of</a:t>
          </a:r>
          <a:r>
            <a:rPr lang="es-MX" b="1" dirty="0"/>
            <a:t> </a:t>
          </a:r>
          <a:r>
            <a:rPr lang="es-MX" b="1" dirty="0" err="1"/>
            <a:t>the</a:t>
          </a:r>
          <a:r>
            <a:rPr lang="es-MX" b="1" dirty="0"/>
            <a:t> </a:t>
          </a:r>
          <a:r>
            <a:rPr lang="es-MX" b="1" dirty="0" err="1"/>
            <a:t>policy</a:t>
          </a:r>
          <a:r>
            <a:rPr lang="es-MX" b="1" dirty="0"/>
            <a:t>.</a:t>
          </a:r>
          <a:endParaRPr lang="en-US" dirty="0"/>
        </a:p>
      </dgm:t>
    </dgm:pt>
    <dgm:pt modelId="{8E643EE3-F844-493B-85F9-3C6876D8D3C0}" type="parTrans" cxnId="{A122CE94-1208-4AC8-A581-FB66E225ABC5}">
      <dgm:prSet/>
      <dgm:spPr/>
      <dgm:t>
        <a:bodyPr/>
        <a:lstStyle/>
        <a:p>
          <a:endParaRPr lang="en-US"/>
        </a:p>
      </dgm:t>
    </dgm:pt>
    <dgm:pt modelId="{40BE6B6C-01A9-4D1D-A192-CD3A32C9BFBC}" type="sibTrans" cxnId="{A122CE94-1208-4AC8-A581-FB66E225ABC5}">
      <dgm:prSet/>
      <dgm:spPr/>
      <dgm:t>
        <a:bodyPr/>
        <a:lstStyle/>
        <a:p>
          <a:endParaRPr lang="en-US"/>
        </a:p>
      </dgm:t>
    </dgm:pt>
    <dgm:pt modelId="{28EB3C2C-78F7-4AE0-B758-523BE341D2E5}">
      <dgm:prSet/>
      <dgm:spPr/>
      <dgm:t>
        <a:bodyPr/>
        <a:lstStyle/>
        <a:p>
          <a:pPr>
            <a:lnSpc>
              <a:spcPct val="100000"/>
            </a:lnSpc>
          </a:pPr>
          <a:r>
            <a:rPr lang="es-MX" b="1" dirty="0" err="1"/>
            <a:t>Challenges</a:t>
          </a:r>
          <a:r>
            <a:rPr lang="es-MX" b="1" dirty="0"/>
            <a:t>.</a:t>
          </a:r>
          <a:endParaRPr lang="en-US" dirty="0"/>
        </a:p>
      </dgm:t>
    </dgm:pt>
    <dgm:pt modelId="{FCDE95E1-5A7D-4336-93FE-8FA7E4F9C7F3}" type="parTrans" cxnId="{766CD271-6351-489F-9403-7191B59C8D9A}">
      <dgm:prSet/>
      <dgm:spPr/>
      <dgm:t>
        <a:bodyPr/>
        <a:lstStyle/>
        <a:p>
          <a:endParaRPr lang="en-US"/>
        </a:p>
      </dgm:t>
    </dgm:pt>
    <dgm:pt modelId="{BFBDBE79-47D2-413C-8D91-E0CE884857A3}" type="sibTrans" cxnId="{766CD271-6351-489F-9403-7191B59C8D9A}">
      <dgm:prSet/>
      <dgm:spPr/>
      <dgm:t>
        <a:bodyPr/>
        <a:lstStyle/>
        <a:p>
          <a:endParaRPr lang="en-US"/>
        </a:p>
      </dgm:t>
    </dgm:pt>
    <dgm:pt modelId="{0680DD32-47F3-4DC9-B6B7-E88C943C7D9D}" type="pres">
      <dgm:prSet presAssocID="{9FA3FED3-5D68-47A9-A535-B770C37AA874}" presName="root" presStyleCnt="0">
        <dgm:presLayoutVars>
          <dgm:dir/>
          <dgm:resizeHandles val="exact"/>
        </dgm:presLayoutVars>
      </dgm:prSet>
      <dgm:spPr/>
    </dgm:pt>
    <dgm:pt modelId="{10A859D5-8C8E-422F-8E6F-0232149B234A}" type="pres">
      <dgm:prSet presAssocID="{92D21A3D-1614-4B53-AB88-72F7E119121D}" presName="compNode" presStyleCnt="0"/>
      <dgm:spPr/>
    </dgm:pt>
    <dgm:pt modelId="{13EC0831-F7B9-4BF1-9CFC-43AED02CD785}" type="pres">
      <dgm:prSet presAssocID="{92D21A3D-1614-4B53-AB88-72F7E119121D}" presName="bgRect" presStyleLbl="bgShp" presStyleIdx="0" presStyleCnt="3"/>
      <dgm:spPr/>
    </dgm:pt>
    <dgm:pt modelId="{DC582D0A-A7FA-455A-87BA-1AB61D633737}" type="pres">
      <dgm:prSet presAssocID="{92D21A3D-1614-4B53-AB88-72F7E119121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Badge 1 con relleno sólido"/>
        </a:ext>
      </dgm:extLst>
    </dgm:pt>
    <dgm:pt modelId="{F8A39EAA-A7EC-4DE3-A62D-6CD0EE4E7C77}" type="pres">
      <dgm:prSet presAssocID="{92D21A3D-1614-4B53-AB88-72F7E119121D}" presName="spaceRect" presStyleCnt="0"/>
      <dgm:spPr/>
    </dgm:pt>
    <dgm:pt modelId="{63ADFA6C-2637-434B-8C47-00BC776ACBF7}" type="pres">
      <dgm:prSet presAssocID="{92D21A3D-1614-4B53-AB88-72F7E119121D}" presName="parTx" presStyleLbl="revTx" presStyleIdx="0" presStyleCnt="3">
        <dgm:presLayoutVars>
          <dgm:chMax val="0"/>
          <dgm:chPref val="0"/>
        </dgm:presLayoutVars>
      </dgm:prSet>
      <dgm:spPr/>
    </dgm:pt>
    <dgm:pt modelId="{A526213F-D539-4FE8-9434-30AD3BE39801}" type="pres">
      <dgm:prSet presAssocID="{23DF7A52-5AD3-4788-BB9C-CBA2218DBA52}" presName="sibTrans" presStyleCnt="0"/>
      <dgm:spPr/>
    </dgm:pt>
    <dgm:pt modelId="{0A9C212B-2B43-4BB3-B1F8-975204282D09}" type="pres">
      <dgm:prSet presAssocID="{A9A63276-413D-41C1-A90F-783A8EB9699A}" presName="compNode" presStyleCnt="0"/>
      <dgm:spPr/>
    </dgm:pt>
    <dgm:pt modelId="{BF1E50ED-B9E0-4559-9771-BB2FC50AF127}" type="pres">
      <dgm:prSet presAssocID="{A9A63276-413D-41C1-A90F-783A8EB9699A}" presName="bgRect" presStyleLbl="bgShp" presStyleIdx="1" presStyleCnt="3"/>
      <dgm:spPr/>
    </dgm:pt>
    <dgm:pt modelId="{672CAB40-D4A9-4164-B997-57F2FEC7F7EE}" type="pres">
      <dgm:prSet presAssocID="{A9A63276-413D-41C1-A90F-783A8EB9699A}"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Badge con relleno sólido"/>
        </a:ext>
      </dgm:extLst>
    </dgm:pt>
    <dgm:pt modelId="{B2F19109-D5AA-47BD-9458-D3D30C0E5443}" type="pres">
      <dgm:prSet presAssocID="{A9A63276-413D-41C1-A90F-783A8EB9699A}" presName="spaceRect" presStyleCnt="0"/>
      <dgm:spPr/>
    </dgm:pt>
    <dgm:pt modelId="{CC76AAF1-E2B4-479A-B36F-C8FC9DC5B203}" type="pres">
      <dgm:prSet presAssocID="{A9A63276-413D-41C1-A90F-783A8EB9699A}" presName="parTx" presStyleLbl="revTx" presStyleIdx="1" presStyleCnt="3">
        <dgm:presLayoutVars>
          <dgm:chMax val="0"/>
          <dgm:chPref val="0"/>
        </dgm:presLayoutVars>
      </dgm:prSet>
      <dgm:spPr/>
    </dgm:pt>
    <dgm:pt modelId="{5E038B51-A247-4C4E-9525-4DFBD6A46C03}" type="pres">
      <dgm:prSet presAssocID="{40BE6B6C-01A9-4D1D-A192-CD3A32C9BFBC}" presName="sibTrans" presStyleCnt="0"/>
      <dgm:spPr/>
    </dgm:pt>
    <dgm:pt modelId="{432CA4E8-F3A7-4724-97A8-A9798D0550DB}" type="pres">
      <dgm:prSet presAssocID="{28EB3C2C-78F7-4AE0-B758-523BE341D2E5}" presName="compNode" presStyleCnt="0"/>
      <dgm:spPr/>
    </dgm:pt>
    <dgm:pt modelId="{BA51495C-3595-4180-9866-B9D4DE43A558}" type="pres">
      <dgm:prSet presAssocID="{28EB3C2C-78F7-4AE0-B758-523BE341D2E5}" presName="bgRect" presStyleLbl="bgShp" presStyleIdx="2" presStyleCnt="3"/>
      <dgm:spPr/>
    </dgm:pt>
    <dgm:pt modelId="{963DD9DC-A85E-497A-AFA6-8E7C8276ACD5}" type="pres">
      <dgm:prSet presAssocID="{28EB3C2C-78F7-4AE0-B758-523BE341D2E5}"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Badge 3 con relleno sólido"/>
        </a:ext>
      </dgm:extLst>
    </dgm:pt>
    <dgm:pt modelId="{3D6435DE-7C3B-4042-ABFF-137BFA9096AB}" type="pres">
      <dgm:prSet presAssocID="{28EB3C2C-78F7-4AE0-B758-523BE341D2E5}" presName="spaceRect" presStyleCnt="0"/>
      <dgm:spPr/>
    </dgm:pt>
    <dgm:pt modelId="{90FDC404-CDF5-493B-AA1A-F1A62D97289E}" type="pres">
      <dgm:prSet presAssocID="{28EB3C2C-78F7-4AE0-B758-523BE341D2E5}" presName="parTx" presStyleLbl="revTx" presStyleIdx="2" presStyleCnt="3">
        <dgm:presLayoutVars>
          <dgm:chMax val="0"/>
          <dgm:chPref val="0"/>
        </dgm:presLayoutVars>
      </dgm:prSet>
      <dgm:spPr/>
    </dgm:pt>
  </dgm:ptLst>
  <dgm:cxnLst>
    <dgm:cxn modelId="{766CD271-6351-489F-9403-7191B59C8D9A}" srcId="{9FA3FED3-5D68-47A9-A535-B770C37AA874}" destId="{28EB3C2C-78F7-4AE0-B758-523BE341D2E5}" srcOrd="2" destOrd="0" parTransId="{FCDE95E1-5A7D-4336-93FE-8FA7E4F9C7F3}" sibTransId="{BFBDBE79-47D2-413C-8D91-E0CE884857A3}"/>
    <dgm:cxn modelId="{63054A8B-1390-4245-9591-C2DB30544093}" type="presOf" srcId="{A9A63276-413D-41C1-A90F-783A8EB9699A}" destId="{CC76AAF1-E2B4-479A-B36F-C8FC9DC5B203}" srcOrd="0" destOrd="0" presId="urn:microsoft.com/office/officeart/2018/2/layout/IconVerticalSolidList"/>
    <dgm:cxn modelId="{A122CE94-1208-4AC8-A581-FB66E225ABC5}" srcId="{9FA3FED3-5D68-47A9-A535-B770C37AA874}" destId="{A9A63276-413D-41C1-A90F-783A8EB9699A}" srcOrd="1" destOrd="0" parTransId="{8E643EE3-F844-493B-85F9-3C6876D8D3C0}" sibTransId="{40BE6B6C-01A9-4D1D-A192-CD3A32C9BFBC}"/>
    <dgm:cxn modelId="{EAC02EBC-4598-4925-B0E6-11C2E0554972}" type="presOf" srcId="{9FA3FED3-5D68-47A9-A535-B770C37AA874}" destId="{0680DD32-47F3-4DC9-B6B7-E88C943C7D9D}" srcOrd="0" destOrd="0" presId="urn:microsoft.com/office/officeart/2018/2/layout/IconVerticalSolidList"/>
    <dgm:cxn modelId="{0C3AC3BE-6292-468B-AAD6-EE151ED575FE}" srcId="{9FA3FED3-5D68-47A9-A535-B770C37AA874}" destId="{92D21A3D-1614-4B53-AB88-72F7E119121D}" srcOrd="0" destOrd="0" parTransId="{1766F1AD-8B07-4438-9607-2BA03EF0EE69}" sibTransId="{23DF7A52-5AD3-4788-BB9C-CBA2218DBA52}"/>
    <dgm:cxn modelId="{88A96DBF-8D48-4883-8971-974FD11FD5F8}" type="presOf" srcId="{92D21A3D-1614-4B53-AB88-72F7E119121D}" destId="{63ADFA6C-2637-434B-8C47-00BC776ACBF7}" srcOrd="0" destOrd="0" presId="urn:microsoft.com/office/officeart/2018/2/layout/IconVerticalSolidList"/>
    <dgm:cxn modelId="{D19A13C2-9FFF-4FCC-9952-351BF5D724A6}" type="presOf" srcId="{28EB3C2C-78F7-4AE0-B758-523BE341D2E5}" destId="{90FDC404-CDF5-493B-AA1A-F1A62D97289E}" srcOrd="0" destOrd="0" presId="urn:microsoft.com/office/officeart/2018/2/layout/IconVerticalSolidList"/>
    <dgm:cxn modelId="{D8E7A90C-1128-4126-80D0-1E9077142BEA}" type="presParOf" srcId="{0680DD32-47F3-4DC9-B6B7-E88C943C7D9D}" destId="{10A859D5-8C8E-422F-8E6F-0232149B234A}" srcOrd="0" destOrd="0" presId="urn:microsoft.com/office/officeart/2018/2/layout/IconVerticalSolidList"/>
    <dgm:cxn modelId="{9B20D994-8854-4EC7-A682-9FFC476C4044}" type="presParOf" srcId="{10A859D5-8C8E-422F-8E6F-0232149B234A}" destId="{13EC0831-F7B9-4BF1-9CFC-43AED02CD785}" srcOrd="0" destOrd="0" presId="urn:microsoft.com/office/officeart/2018/2/layout/IconVerticalSolidList"/>
    <dgm:cxn modelId="{B08DAF30-A42E-4DE8-9772-B9D069D46C92}" type="presParOf" srcId="{10A859D5-8C8E-422F-8E6F-0232149B234A}" destId="{DC582D0A-A7FA-455A-87BA-1AB61D633737}" srcOrd="1" destOrd="0" presId="urn:microsoft.com/office/officeart/2018/2/layout/IconVerticalSolidList"/>
    <dgm:cxn modelId="{9EC5E17E-3298-4432-9FDA-AF35A2D68F25}" type="presParOf" srcId="{10A859D5-8C8E-422F-8E6F-0232149B234A}" destId="{F8A39EAA-A7EC-4DE3-A62D-6CD0EE4E7C77}" srcOrd="2" destOrd="0" presId="urn:microsoft.com/office/officeart/2018/2/layout/IconVerticalSolidList"/>
    <dgm:cxn modelId="{619EB6ED-9EB6-48DF-A568-6C34586B57E3}" type="presParOf" srcId="{10A859D5-8C8E-422F-8E6F-0232149B234A}" destId="{63ADFA6C-2637-434B-8C47-00BC776ACBF7}" srcOrd="3" destOrd="0" presId="urn:microsoft.com/office/officeart/2018/2/layout/IconVerticalSolidList"/>
    <dgm:cxn modelId="{2664165F-3CC4-4B24-A709-BE7BF733F008}" type="presParOf" srcId="{0680DD32-47F3-4DC9-B6B7-E88C943C7D9D}" destId="{A526213F-D539-4FE8-9434-30AD3BE39801}" srcOrd="1" destOrd="0" presId="urn:microsoft.com/office/officeart/2018/2/layout/IconVerticalSolidList"/>
    <dgm:cxn modelId="{42F824E9-2A5A-47B3-AED8-6804B138FF93}" type="presParOf" srcId="{0680DD32-47F3-4DC9-B6B7-E88C943C7D9D}" destId="{0A9C212B-2B43-4BB3-B1F8-975204282D09}" srcOrd="2" destOrd="0" presId="urn:microsoft.com/office/officeart/2018/2/layout/IconVerticalSolidList"/>
    <dgm:cxn modelId="{72A186A2-11E3-48A5-A5DF-EF73E311F056}" type="presParOf" srcId="{0A9C212B-2B43-4BB3-B1F8-975204282D09}" destId="{BF1E50ED-B9E0-4559-9771-BB2FC50AF127}" srcOrd="0" destOrd="0" presId="urn:microsoft.com/office/officeart/2018/2/layout/IconVerticalSolidList"/>
    <dgm:cxn modelId="{506EE82D-6870-4027-9132-B124388F55C5}" type="presParOf" srcId="{0A9C212B-2B43-4BB3-B1F8-975204282D09}" destId="{672CAB40-D4A9-4164-B997-57F2FEC7F7EE}" srcOrd="1" destOrd="0" presId="urn:microsoft.com/office/officeart/2018/2/layout/IconVerticalSolidList"/>
    <dgm:cxn modelId="{B1FFDCF8-728C-4F1F-90B0-0AAE5F72E295}" type="presParOf" srcId="{0A9C212B-2B43-4BB3-B1F8-975204282D09}" destId="{B2F19109-D5AA-47BD-9458-D3D30C0E5443}" srcOrd="2" destOrd="0" presId="urn:microsoft.com/office/officeart/2018/2/layout/IconVerticalSolidList"/>
    <dgm:cxn modelId="{C449F27A-1B86-4BD1-9830-325A6E35A2BD}" type="presParOf" srcId="{0A9C212B-2B43-4BB3-B1F8-975204282D09}" destId="{CC76AAF1-E2B4-479A-B36F-C8FC9DC5B203}" srcOrd="3" destOrd="0" presId="urn:microsoft.com/office/officeart/2018/2/layout/IconVerticalSolidList"/>
    <dgm:cxn modelId="{21A0E097-AF80-46E3-A785-923EE1DC4C77}" type="presParOf" srcId="{0680DD32-47F3-4DC9-B6B7-E88C943C7D9D}" destId="{5E038B51-A247-4C4E-9525-4DFBD6A46C03}" srcOrd="3" destOrd="0" presId="urn:microsoft.com/office/officeart/2018/2/layout/IconVerticalSolidList"/>
    <dgm:cxn modelId="{9BAB2C88-3B54-471D-AA1A-DFE0FDE68A1B}" type="presParOf" srcId="{0680DD32-47F3-4DC9-B6B7-E88C943C7D9D}" destId="{432CA4E8-F3A7-4724-97A8-A9798D0550DB}" srcOrd="4" destOrd="0" presId="urn:microsoft.com/office/officeart/2018/2/layout/IconVerticalSolidList"/>
    <dgm:cxn modelId="{FCCDA1B7-8B8A-499E-8B33-7AE6320261DB}" type="presParOf" srcId="{432CA4E8-F3A7-4724-97A8-A9798D0550DB}" destId="{BA51495C-3595-4180-9866-B9D4DE43A558}" srcOrd="0" destOrd="0" presId="urn:microsoft.com/office/officeart/2018/2/layout/IconVerticalSolidList"/>
    <dgm:cxn modelId="{FDCEA59D-F176-47FE-B0BD-D5BF82ADCA8F}" type="presParOf" srcId="{432CA4E8-F3A7-4724-97A8-A9798D0550DB}" destId="{963DD9DC-A85E-497A-AFA6-8E7C8276ACD5}" srcOrd="1" destOrd="0" presId="urn:microsoft.com/office/officeart/2018/2/layout/IconVerticalSolidList"/>
    <dgm:cxn modelId="{F21C23A7-20F4-4296-9281-257C89AE37FF}" type="presParOf" srcId="{432CA4E8-F3A7-4724-97A8-A9798D0550DB}" destId="{3D6435DE-7C3B-4042-ABFF-137BFA9096AB}" srcOrd="2" destOrd="0" presId="urn:microsoft.com/office/officeart/2018/2/layout/IconVerticalSolidList"/>
    <dgm:cxn modelId="{A472ED2F-FF08-468A-81B0-10360F7DD47A}" type="presParOf" srcId="{432CA4E8-F3A7-4724-97A8-A9798D0550DB}" destId="{90FDC404-CDF5-493B-AA1A-F1A62D97289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6DA3134-3FF6-4391-8912-E2EA152871B5}"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s-CL"/>
        </a:p>
      </dgm:t>
    </dgm:pt>
    <dgm:pt modelId="{47F8205E-C20E-4162-BF23-A66DD5A0DB11}">
      <dgm:prSet phldrT="[Texto]"/>
      <dgm:spPr/>
      <dgm:t>
        <a:bodyPr/>
        <a:lstStyle/>
        <a:p>
          <a:pPr algn="ctr"/>
          <a:r>
            <a:rPr lang="en-US" dirty="0"/>
            <a:t>Change in Test Methods: NEDC -&gt; WLTP</a:t>
          </a:r>
          <a:endParaRPr lang="es-CL" dirty="0"/>
        </a:p>
      </dgm:t>
    </dgm:pt>
    <dgm:pt modelId="{AFB25653-331B-4A31-9E92-73F78EC88938}" type="parTrans" cxnId="{C063227D-0D5C-48E6-9028-852DDA42B4DC}">
      <dgm:prSet/>
      <dgm:spPr/>
      <dgm:t>
        <a:bodyPr/>
        <a:lstStyle/>
        <a:p>
          <a:pPr algn="ctr"/>
          <a:endParaRPr lang="es-CL"/>
        </a:p>
      </dgm:t>
    </dgm:pt>
    <dgm:pt modelId="{6AE7D391-EFF1-4010-B94C-68EE685BE086}" type="sibTrans" cxnId="{C063227D-0D5C-48E6-9028-852DDA42B4DC}">
      <dgm:prSet/>
      <dgm:spPr/>
      <dgm:t>
        <a:bodyPr/>
        <a:lstStyle/>
        <a:p>
          <a:pPr algn="ctr"/>
          <a:endParaRPr lang="es-CL"/>
        </a:p>
      </dgm:t>
    </dgm:pt>
    <dgm:pt modelId="{AAA676CB-6DAF-47CB-B3AF-E8C6557BA8F2}">
      <dgm:prSet phldrT="[Texto]"/>
      <dgm:spPr/>
      <dgm:t>
        <a:bodyPr/>
        <a:lstStyle/>
        <a:p>
          <a:pPr algn="ctr"/>
          <a:r>
            <a:rPr lang="es-MX" dirty="0"/>
            <a:t>Heavy </a:t>
          </a:r>
          <a:r>
            <a:rPr lang="es-MX" dirty="0" err="1"/>
            <a:t>Duty</a:t>
          </a:r>
          <a:r>
            <a:rPr lang="es-MX" dirty="0"/>
            <a:t> </a:t>
          </a:r>
          <a:r>
            <a:rPr lang="es-MX" dirty="0" err="1"/>
            <a:t>Vehicle</a:t>
          </a:r>
          <a:r>
            <a:rPr lang="es-MX" dirty="0"/>
            <a:t> </a:t>
          </a:r>
          <a:r>
            <a:rPr lang="es-MX" dirty="0" err="1"/>
            <a:t>Standards</a:t>
          </a:r>
          <a:endParaRPr lang="es-CL" dirty="0"/>
        </a:p>
      </dgm:t>
    </dgm:pt>
    <dgm:pt modelId="{DD4E279C-8050-4D3E-A453-BFFA565C9B5C}" type="parTrans" cxnId="{F7FBCEF4-D11E-4673-B4F7-4D4F20EF254F}">
      <dgm:prSet/>
      <dgm:spPr/>
      <dgm:t>
        <a:bodyPr/>
        <a:lstStyle/>
        <a:p>
          <a:pPr algn="ctr"/>
          <a:endParaRPr lang="es-CL"/>
        </a:p>
      </dgm:t>
    </dgm:pt>
    <dgm:pt modelId="{76CE465F-8067-449A-BF57-03CF6113F3D4}" type="sibTrans" cxnId="{F7FBCEF4-D11E-4673-B4F7-4D4F20EF254F}">
      <dgm:prSet/>
      <dgm:spPr/>
      <dgm:t>
        <a:bodyPr/>
        <a:lstStyle/>
        <a:p>
          <a:pPr algn="ctr"/>
          <a:endParaRPr lang="es-CL"/>
        </a:p>
      </dgm:t>
    </dgm:pt>
    <dgm:pt modelId="{8300D6B6-9180-4E60-8CA7-E8DF8AAF1F8B}">
      <dgm:prSet phldrT="[Texto]"/>
      <dgm:spPr/>
      <dgm:t>
        <a:bodyPr/>
        <a:lstStyle/>
        <a:p>
          <a:pPr algn="ctr"/>
          <a:r>
            <a:rPr lang="es-MX" dirty="0" err="1"/>
            <a:t>Metrics</a:t>
          </a:r>
          <a:r>
            <a:rPr lang="es-MX" dirty="0"/>
            <a:t> and </a:t>
          </a:r>
          <a:r>
            <a:rPr lang="es-MX" dirty="0" err="1"/>
            <a:t>labs</a:t>
          </a:r>
          <a:endParaRPr lang="es-CL" b="1" dirty="0"/>
        </a:p>
      </dgm:t>
    </dgm:pt>
    <dgm:pt modelId="{5F865D30-9B5A-4EDF-B2AE-7888542B0075}" type="parTrans" cxnId="{B0F028C1-BFDE-4230-AB29-D23F802E5743}">
      <dgm:prSet/>
      <dgm:spPr/>
      <dgm:t>
        <a:bodyPr/>
        <a:lstStyle/>
        <a:p>
          <a:pPr algn="ctr"/>
          <a:endParaRPr lang="es-CL"/>
        </a:p>
      </dgm:t>
    </dgm:pt>
    <dgm:pt modelId="{3C6F9981-133E-4AC1-83B9-2D23605D295F}" type="sibTrans" cxnId="{B0F028C1-BFDE-4230-AB29-D23F802E5743}">
      <dgm:prSet/>
      <dgm:spPr/>
      <dgm:t>
        <a:bodyPr/>
        <a:lstStyle/>
        <a:p>
          <a:pPr algn="ctr"/>
          <a:endParaRPr lang="es-CL"/>
        </a:p>
      </dgm:t>
    </dgm:pt>
    <dgm:pt modelId="{1237E638-3716-4456-BC90-8C3AD8E2CD26}">
      <dgm:prSet phldrT="[Texto]"/>
      <dgm:spPr/>
      <dgm:t>
        <a:bodyPr/>
        <a:lstStyle/>
        <a:p>
          <a:pPr algn="ctr"/>
          <a:r>
            <a:rPr lang="en-US" b="0" dirty="0"/>
            <a:t>Deadlines defined in EE Law.</a:t>
          </a:r>
          <a:endParaRPr lang="es-CL" b="0" dirty="0"/>
        </a:p>
      </dgm:t>
    </dgm:pt>
    <dgm:pt modelId="{CA51BFD7-7EC4-4C84-AE7A-F9127F476712}" type="parTrans" cxnId="{6BEA96EE-1940-4295-83DC-6714106894A8}">
      <dgm:prSet/>
      <dgm:spPr/>
      <dgm:t>
        <a:bodyPr/>
        <a:lstStyle/>
        <a:p>
          <a:endParaRPr lang="es-CL"/>
        </a:p>
      </dgm:t>
    </dgm:pt>
    <dgm:pt modelId="{DF969C0C-4DF4-48D1-A4D7-97A1B2B10B16}" type="sibTrans" cxnId="{6BEA96EE-1940-4295-83DC-6714106894A8}">
      <dgm:prSet/>
      <dgm:spPr/>
      <dgm:t>
        <a:bodyPr/>
        <a:lstStyle/>
        <a:p>
          <a:endParaRPr lang="es-CL"/>
        </a:p>
      </dgm:t>
    </dgm:pt>
    <dgm:pt modelId="{79ADEE77-2BFF-4701-A655-5553DCA7B8CB}">
      <dgm:prSet phldrT="[Texto]"/>
      <dgm:spPr/>
      <dgm:t>
        <a:bodyPr/>
        <a:lstStyle/>
        <a:p>
          <a:pPr algn="ctr"/>
          <a:r>
            <a:rPr lang="es-MX" b="0" dirty="0"/>
            <a:t>International/</a:t>
          </a:r>
          <a:r>
            <a:rPr lang="es-MX" b="0" dirty="0" err="1"/>
            <a:t>National</a:t>
          </a:r>
          <a:r>
            <a:rPr lang="es-MX" b="0" dirty="0"/>
            <a:t> </a:t>
          </a:r>
          <a:r>
            <a:rPr lang="es-MX" b="0" dirty="0" err="1"/>
            <a:t>Experience</a:t>
          </a:r>
          <a:endParaRPr lang="es-CL" b="0" dirty="0"/>
        </a:p>
      </dgm:t>
    </dgm:pt>
    <dgm:pt modelId="{5FCBC8C6-F61C-4FF7-A7CB-FB008A4D8682}" type="parTrans" cxnId="{C196A3B3-4020-4FD7-9CE3-E62A174BDCA9}">
      <dgm:prSet/>
      <dgm:spPr/>
      <dgm:t>
        <a:bodyPr/>
        <a:lstStyle/>
        <a:p>
          <a:endParaRPr lang="es-CL"/>
        </a:p>
      </dgm:t>
    </dgm:pt>
    <dgm:pt modelId="{39FE14DD-A3DF-4428-904F-ACA4F10F0963}" type="sibTrans" cxnId="{C196A3B3-4020-4FD7-9CE3-E62A174BDCA9}">
      <dgm:prSet/>
      <dgm:spPr/>
      <dgm:t>
        <a:bodyPr/>
        <a:lstStyle/>
        <a:p>
          <a:endParaRPr lang="es-CL"/>
        </a:p>
      </dgm:t>
    </dgm:pt>
    <dgm:pt modelId="{35932658-E5A6-476F-BE0F-F36A8739032B}" type="pres">
      <dgm:prSet presAssocID="{06DA3134-3FF6-4391-8912-E2EA152871B5}" presName="linear" presStyleCnt="0">
        <dgm:presLayoutVars>
          <dgm:animLvl val="lvl"/>
          <dgm:resizeHandles val="exact"/>
        </dgm:presLayoutVars>
      </dgm:prSet>
      <dgm:spPr/>
    </dgm:pt>
    <dgm:pt modelId="{22BC10CF-09EA-4461-9187-8D5FEC23C76D}" type="pres">
      <dgm:prSet presAssocID="{47F8205E-C20E-4162-BF23-A66DD5A0DB11}" presName="parentText" presStyleLbl="node1" presStyleIdx="0" presStyleCnt="5">
        <dgm:presLayoutVars>
          <dgm:chMax val="0"/>
          <dgm:bulletEnabled val="1"/>
        </dgm:presLayoutVars>
      </dgm:prSet>
      <dgm:spPr/>
    </dgm:pt>
    <dgm:pt modelId="{AF63EBC6-058D-49A3-8713-DB2528DE875C}" type="pres">
      <dgm:prSet presAssocID="{6AE7D391-EFF1-4010-B94C-68EE685BE086}" presName="spacer" presStyleCnt="0"/>
      <dgm:spPr/>
    </dgm:pt>
    <dgm:pt modelId="{BC6A78FD-EE2C-40DE-8974-6B20D7A8C789}" type="pres">
      <dgm:prSet presAssocID="{AAA676CB-6DAF-47CB-B3AF-E8C6557BA8F2}" presName="parentText" presStyleLbl="node1" presStyleIdx="1" presStyleCnt="5" custLinFactNeighborX="34769">
        <dgm:presLayoutVars>
          <dgm:chMax val="0"/>
          <dgm:bulletEnabled val="1"/>
        </dgm:presLayoutVars>
      </dgm:prSet>
      <dgm:spPr/>
    </dgm:pt>
    <dgm:pt modelId="{30981BE0-7FE1-4B10-AC3D-ED58DFDCDD4D}" type="pres">
      <dgm:prSet presAssocID="{76CE465F-8067-449A-BF57-03CF6113F3D4}" presName="spacer" presStyleCnt="0"/>
      <dgm:spPr/>
    </dgm:pt>
    <dgm:pt modelId="{7B9E6B4B-5653-4461-8CEA-B00B7D291C82}" type="pres">
      <dgm:prSet presAssocID="{8300D6B6-9180-4E60-8CA7-E8DF8AAF1F8B}" presName="parentText" presStyleLbl="node1" presStyleIdx="2" presStyleCnt="5">
        <dgm:presLayoutVars>
          <dgm:chMax val="0"/>
          <dgm:bulletEnabled val="1"/>
        </dgm:presLayoutVars>
      </dgm:prSet>
      <dgm:spPr/>
    </dgm:pt>
    <dgm:pt modelId="{EA70AB58-E7AA-4DB3-A4D9-8C3ACBE59CC1}" type="pres">
      <dgm:prSet presAssocID="{3C6F9981-133E-4AC1-83B9-2D23605D295F}" presName="spacer" presStyleCnt="0"/>
      <dgm:spPr/>
    </dgm:pt>
    <dgm:pt modelId="{C20030A5-D76A-4952-9DB9-E55747874549}" type="pres">
      <dgm:prSet presAssocID="{79ADEE77-2BFF-4701-A655-5553DCA7B8CB}" presName="parentText" presStyleLbl="node1" presStyleIdx="3" presStyleCnt="5">
        <dgm:presLayoutVars>
          <dgm:chMax val="0"/>
          <dgm:bulletEnabled val="1"/>
        </dgm:presLayoutVars>
      </dgm:prSet>
      <dgm:spPr/>
    </dgm:pt>
    <dgm:pt modelId="{E848DDB5-7E20-4B9E-96E4-986094D9AD9B}" type="pres">
      <dgm:prSet presAssocID="{39FE14DD-A3DF-4428-904F-ACA4F10F0963}" presName="spacer" presStyleCnt="0"/>
      <dgm:spPr/>
    </dgm:pt>
    <dgm:pt modelId="{3D17A67A-58EB-4D05-96CA-C1969C596648}" type="pres">
      <dgm:prSet presAssocID="{1237E638-3716-4456-BC90-8C3AD8E2CD26}" presName="parentText" presStyleLbl="node1" presStyleIdx="4" presStyleCnt="5">
        <dgm:presLayoutVars>
          <dgm:chMax val="0"/>
          <dgm:bulletEnabled val="1"/>
        </dgm:presLayoutVars>
      </dgm:prSet>
      <dgm:spPr/>
    </dgm:pt>
  </dgm:ptLst>
  <dgm:cxnLst>
    <dgm:cxn modelId="{DFFE7816-F84A-4BED-8174-B8FDF68DF4F2}" type="presOf" srcId="{47F8205E-C20E-4162-BF23-A66DD5A0DB11}" destId="{22BC10CF-09EA-4461-9187-8D5FEC23C76D}" srcOrd="0" destOrd="0" presId="urn:microsoft.com/office/officeart/2005/8/layout/vList2"/>
    <dgm:cxn modelId="{F7F6EB38-5A92-47F8-B2B2-EF8047EBFF6F}" type="presOf" srcId="{AAA676CB-6DAF-47CB-B3AF-E8C6557BA8F2}" destId="{BC6A78FD-EE2C-40DE-8974-6B20D7A8C789}" srcOrd="0" destOrd="0" presId="urn:microsoft.com/office/officeart/2005/8/layout/vList2"/>
    <dgm:cxn modelId="{23932E56-C522-4D77-AA11-118A4600618B}" type="presOf" srcId="{06DA3134-3FF6-4391-8912-E2EA152871B5}" destId="{35932658-E5A6-476F-BE0F-F36A8739032B}" srcOrd="0" destOrd="0" presId="urn:microsoft.com/office/officeart/2005/8/layout/vList2"/>
    <dgm:cxn modelId="{C063227D-0D5C-48E6-9028-852DDA42B4DC}" srcId="{06DA3134-3FF6-4391-8912-E2EA152871B5}" destId="{47F8205E-C20E-4162-BF23-A66DD5A0DB11}" srcOrd="0" destOrd="0" parTransId="{AFB25653-331B-4A31-9E92-73F78EC88938}" sibTransId="{6AE7D391-EFF1-4010-B94C-68EE685BE086}"/>
    <dgm:cxn modelId="{C196A3B3-4020-4FD7-9CE3-E62A174BDCA9}" srcId="{06DA3134-3FF6-4391-8912-E2EA152871B5}" destId="{79ADEE77-2BFF-4701-A655-5553DCA7B8CB}" srcOrd="3" destOrd="0" parTransId="{5FCBC8C6-F61C-4FF7-A7CB-FB008A4D8682}" sibTransId="{39FE14DD-A3DF-4428-904F-ACA4F10F0963}"/>
    <dgm:cxn modelId="{8C4758BF-16D8-4D0F-847D-460F418F59D0}" type="presOf" srcId="{1237E638-3716-4456-BC90-8C3AD8E2CD26}" destId="{3D17A67A-58EB-4D05-96CA-C1969C596648}" srcOrd="0" destOrd="0" presId="urn:microsoft.com/office/officeart/2005/8/layout/vList2"/>
    <dgm:cxn modelId="{B0F028C1-BFDE-4230-AB29-D23F802E5743}" srcId="{06DA3134-3FF6-4391-8912-E2EA152871B5}" destId="{8300D6B6-9180-4E60-8CA7-E8DF8AAF1F8B}" srcOrd="2" destOrd="0" parTransId="{5F865D30-9B5A-4EDF-B2AE-7888542B0075}" sibTransId="{3C6F9981-133E-4AC1-83B9-2D23605D295F}"/>
    <dgm:cxn modelId="{11DCD2C3-FAE3-46F1-BE5B-18022B210A48}" type="presOf" srcId="{8300D6B6-9180-4E60-8CA7-E8DF8AAF1F8B}" destId="{7B9E6B4B-5653-4461-8CEA-B00B7D291C82}" srcOrd="0" destOrd="0" presId="urn:microsoft.com/office/officeart/2005/8/layout/vList2"/>
    <dgm:cxn modelId="{93EE0CD5-9F8C-474A-92EF-7DFF64872EC8}" type="presOf" srcId="{79ADEE77-2BFF-4701-A655-5553DCA7B8CB}" destId="{C20030A5-D76A-4952-9DB9-E55747874549}" srcOrd="0" destOrd="0" presId="urn:microsoft.com/office/officeart/2005/8/layout/vList2"/>
    <dgm:cxn modelId="{6BEA96EE-1940-4295-83DC-6714106894A8}" srcId="{06DA3134-3FF6-4391-8912-E2EA152871B5}" destId="{1237E638-3716-4456-BC90-8C3AD8E2CD26}" srcOrd="4" destOrd="0" parTransId="{CA51BFD7-7EC4-4C84-AE7A-F9127F476712}" sibTransId="{DF969C0C-4DF4-48D1-A4D7-97A1B2B10B16}"/>
    <dgm:cxn modelId="{F7FBCEF4-D11E-4673-B4F7-4D4F20EF254F}" srcId="{06DA3134-3FF6-4391-8912-E2EA152871B5}" destId="{AAA676CB-6DAF-47CB-B3AF-E8C6557BA8F2}" srcOrd="1" destOrd="0" parTransId="{DD4E279C-8050-4D3E-A453-BFFA565C9B5C}" sibTransId="{76CE465F-8067-449A-BF57-03CF6113F3D4}"/>
    <dgm:cxn modelId="{A38EA818-B861-4020-A56A-35F66040FB54}" type="presParOf" srcId="{35932658-E5A6-476F-BE0F-F36A8739032B}" destId="{22BC10CF-09EA-4461-9187-8D5FEC23C76D}" srcOrd="0" destOrd="0" presId="urn:microsoft.com/office/officeart/2005/8/layout/vList2"/>
    <dgm:cxn modelId="{AB7B276A-0F1A-4267-ADCD-ABF62198A09B}" type="presParOf" srcId="{35932658-E5A6-476F-BE0F-F36A8739032B}" destId="{AF63EBC6-058D-49A3-8713-DB2528DE875C}" srcOrd="1" destOrd="0" presId="urn:microsoft.com/office/officeart/2005/8/layout/vList2"/>
    <dgm:cxn modelId="{8A25E0F8-2500-44F0-8630-5215BD4F357C}" type="presParOf" srcId="{35932658-E5A6-476F-BE0F-F36A8739032B}" destId="{BC6A78FD-EE2C-40DE-8974-6B20D7A8C789}" srcOrd="2" destOrd="0" presId="urn:microsoft.com/office/officeart/2005/8/layout/vList2"/>
    <dgm:cxn modelId="{6432CDAE-DC0A-454E-AE10-2C53697BD96E}" type="presParOf" srcId="{35932658-E5A6-476F-BE0F-F36A8739032B}" destId="{30981BE0-7FE1-4B10-AC3D-ED58DFDCDD4D}" srcOrd="3" destOrd="0" presId="urn:microsoft.com/office/officeart/2005/8/layout/vList2"/>
    <dgm:cxn modelId="{22512DAD-70B7-45A2-8666-FDB565259791}" type="presParOf" srcId="{35932658-E5A6-476F-BE0F-F36A8739032B}" destId="{7B9E6B4B-5653-4461-8CEA-B00B7D291C82}" srcOrd="4" destOrd="0" presId="urn:microsoft.com/office/officeart/2005/8/layout/vList2"/>
    <dgm:cxn modelId="{B5F81447-9E44-48CD-A692-9AC131555574}" type="presParOf" srcId="{35932658-E5A6-476F-BE0F-F36A8739032B}" destId="{EA70AB58-E7AA-4DB3-A4D9-8C3ACBE59CC1}" srcOrd="5" destOrd="0" presId="urn:microsoft.com/office/officeart/2005/8/layout/vList2"/>
    <dgm:cxn modelId="{AB979CB9-3F33-44D1-9C7B-762E2A641FC3}" type="presParOf" srcId="{35932658-E5A6-476F-BE0F-F36A8739032B}" destId="{C20030A5-D76A-4952-9DB9-E55747874549}" srcOrd="6" destOrd="0" presId="urn:microsoft.com/office/officeart/2005/8/layout/vList2"/>
    <dgm:cxn modelId="{040149B2-9E08-449E-826A-8BAA7F6BBF0F}" type="presParOf" srcId="{35932658-E5A6-476F-BE0F-F36A8739032B}" destId="{E848DDB5-7E20-4B9E-96E4-986094D9AD9B}" srcOrd="7" destOrd="0" presId="urn:microsoft.com/office/officeart/2005/8/layout/vList2"/>
    <dgm:cxn modelId="{FB33284D-7A96-4868-A61E-AA237FACA24D}" type="presParOf" srcId="{35932658-E5A6-476F-BE0F-F36A8739032B}" destId="{3D17A67A-58EB-4D05-96CA-C1969C596648}"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933674C-4290-42B7-AF47-6EE61E1C3C28}" type="doc">
      <dgm:prSet loTypeId="urn:microsoft.com/office/officeart/2016/7/layout/RoundedRectangleTimeline" loCatId="process" qsTypeId="urn:microsoft.com/office/officeart/2005/8/quickstyle/simple1" qsCatId="simple" csTypeId="urn:microsoft.com/office/officeart/2005/8/colors/colorful1" csCatId="colorful" phldr="1"/>
      <dgm:spPr/>
      <dgm:t>
        <a:bodyPr/>
        <a:lstStyle/>
        <a:p>
          <a:endParaRPr lang="en-US"/>
        </a:p>
      </dgm:t>
    </dgm:pt>
    <dgm:pt modelId="{CE8FFBC8-E2BA-47DA-9E56-BC017E100402}">
      <dgm:prSet/>
      <dgm:spPr>
        <a:solidFill>
          <a:srgbClr val="001F60"/>
        </a:solidFill>
        <a:ln>
          <a:solidFill>
            <a:srgbClr val="001F60"/>
          </a:solidFill>
        </a:ln>
      </dgm:spPr>
      <dgm:t>
        <a:bodyPr/>
        <a:lstStyle/>
        <a:p>
          <a:r>
            <a:rPr lang="en-US"/>
            <a:t>Feb. 2013</a:t>
          </a:r>
        </a:p>
      </dgm:t>
    </dgm:pt>
    <dgm:pt modelId="{ED72FA2A-DDBD-4B15-B7C1-ED29DD27BE6C}" type="parTrans" cxnId="{2151ED4A-379D-4A94-8242-A6428EC23F84}">
      <dgm:prSet/>
      <dgm:spPr/>
      <dgm:t>
        <a:bodyPr/>
        <a:lstStyle/>
        <a:p>
          <a:endParaRPr lang="en-US"/>
        </a:p>
      </dgm:t>
    </dgm:pt>
    <dgm:pt modelId="{E5DD65D9-4D81-4A76-B0AC-C96CA8632279}" type="sibTrans" cxnId="{2151ED4A-379D-4A94-8242-A6428EC23F84}">
      <dgm:prSet/>
      <dgm:spPr/>
      <dgm:t>
        <a:bodyPr/>
        <a:lstStyle/>
        <a:p>
          <a:endParaRPr lang="en-US"/>
        </a:p>
      </dgm:t>
    </dgm:pt>
    <dgm:pt modelId="{EB65F050-0746-49E3-9843-A6F45049196C}">
      <dgm:prSet/>
      <dgm:spPr/>
      <dgm:t>
        <a:bodyPr/>
        <a:lstStyle/>
        <a:p>
          <a:r>
            <a:rPr lang="de-DE" dirty="0"/>
            <a:t>Vehicle EE </a:t>
          </a:r>
          <a:r>
            <a:rPr lang="de-DE" dirty="0" err="1"/>
            <a:t>label</a:t>
          </a:r>
          <a:r>
            <a:rPr lang="de-DE" dirty="0"/>
            <a:t> </a:t>
          </a:r>
          <a:r>
            <a:rPr lang="de-DE" dirty="0" err="1"/>
            <a:t>validity</a:t>
          </a:r>
          <a:r>
            <a:rPr lang="de-DE" dirty="0"/>
            <a:t>. Light </a:t>
          </a:r>
          <a:r>
            <a:rPr lang="de-DE" dirty="0" err="1"/>
            <a:t>vehicles</a:t>
          </a:r>
          <a:r>
            <a:rPr lang="de-DE" dirty="0"/>
            <a:t>.</a:t>
          </a:r>
          <a:endParaRPr lang="en-US" dirty="0"/>
        </a:p>
      </dgm:t>
    </dgm:pt>
    <dgm:pt modelId="{755BA2A8-D0AB-46C9-B8CF-ADFE64C9E888}" type="parTrans" cxnId="{EABD0CB6-D244-41EB-88D0-0A833939D4EC}">
      <dgm:prSet/>
      <dgm:spPr/>
      <dgm:t>
        <a:bodyPr/>
        <a:lstStyle/>
        <a:p>
          <a:endParaRPr lang="en-US"/>
        </a:p>
      </dgm:t>
    </dgm:pt>
    <dgm:pt modelId="{CB64B9BA-97CD-49C5-B540-E83A1B367D8E}" type="sibTrans" cxnId="{EABD0CB6-D244-41EB-88D0-0A833939D4EC}">
      <dgm:prSet/>
      <dgm:spPr/>
      <dgm:t>
        <a:bodyPr/>
        <a:lstStyle/>
        <a:p>
          <a:endParaRPr lang="en-US"/>
        </a:p>
      </dgm:t>
    </dgm:pt>
    <dgm:pt modelId="{32937003-63D0-4FDC-9666-4B319A3B4D99}">
      <dgm:prSet/>
      <dgm:spPr>
        <a:solidFill>
          <a:srgbClr val="001F60"/>
        </a:solidFill>
        <a:ln>
          <a:solidFill>
            <a:srgbClr val="001F60"/>
          </a:solidFill>
        </a:ln>
      </dgm:spPr>
      <dgm:t>
        <a:bodyPr/>
        <a:lstStyle/>
        <a:p>
          <a:r>
            <a:rPr lang="en-US"/>
            <a:t>Jun. 2017</a:t>
          </a:r>
        </a:p>
      </dgm:t>
    </dgm:pt>
    <dgm:pt modelId="{E4BC9C80-2619-4B37-98D9-B853F2A9F1C5}" type="parTrans" cxnId="{03292CC5-215D-4FBC-B827-695EFB4B9954}">
      <dgm:prSet/>
      <dgm:spPr/>
      <dgm:t>
        <a:bodyPr/>
        <a:lstStyle/>
        <a:p>
          <a:endParaRPr lang="en-US"/>
        </a:p>
      </dgm:t>
    </dgm:pt>
    <dgm:pt modelId="{B91B7E21-CF4D-4D85-824E-CFC64C024D9B}" type="sibTrans" cxnId="{03292CC5-215D-4FBC-B827-695EFB4B9954}">
      <dgm:prSet/>
      <dgm:spPr/>
      <dgm:t>
        <a:bodyPr/>
        <a:lstStyle/>
        <a:p>
          <a:endParaRPr lang="en-US"/>
        </a:p>
      </dgm:t>
    </dgm:pt>
    <dgm:pt modelId="{BA21C4A7-E6BA-4EFE-8BD0-32F124BDDDBD}">
      <dgm:prSet/>
      <dgm:spPr/>
      <dgm:t>
        <a:bodyPr/>
        <a:lstStyle/>
        <a:p>
          <a:r>
            <a:rPr lang="en-US" dirty="0"/>
            <a:t>Validity of the EE Vehicle Label. Medium vehicles.</a:t>
          </a:r>
        </a:p>
      </dgm:t>
    </dgm:pt>
    <dgm:pt modelId="{A958AE09-ACE6-4796-A101-3DF379BA7FA9}" type="parTrans" cxnId="{12B8DB2C-AB79-409D-AD94-D7D8E43E4475}">
      <dgm:prSet/>
      <dgm:spPr/>
      <dgm:t>
        <a:bodyPr/>
        <a:lstStyle/>
        <a:p>
          <a:endParaRPr lang="en-US"/>
        </a:p>
      </dgm:t>
    </dgm:pt>
    <dgm:pt modelId="{4F01E7F4-2C52-4DED-9A8C-C79A192A618C}" type="sibTrans" cxnId="{12B8DB2C-AB79-409D-AD94-D7D8E43E4475}">
      <dgm:prSet/>
      <dgm:spPr/>
      <dgm:t>
        <a:bodyPr/>
        <a:lstStyle/>
        <a:p>
          <a:endParaRPr lang="en-US"/>
        </a:p>
      </dgm:t>
    </dgm:pt>
    <dgm:pt modelId="{501F7932-FC98-41F8-A403-0E1BF3B99541}">
      <dgm:prSet/>
      <dgm:spPr>
        <a:solidFill>
          <a:srgbClr val="68B0AB"/>
        </a:solidFill>
        <a:ln>
          <a:solidFill>
            <a:srgbClr val="68B0AB"/>
          </a:solidFill>
        </a:ln>
      </dgm:spPr>
      <dgm:t>
        <a:bodyPr/>
        <a:lstStyle/>
        <a:p>
          <a:r>
            <a:rPr lang="en-US" b="0"/>
            <a:t>Sept. 2018</a:t>
          </a:r>
        </a:p>
      </dgm:t>
    </dgm:pt>
    <dgm:pt modelId="{7365D153-497B-49C4-BB32-CAA611F9CA43}" type="parTrans" cxnId="{EA607902-9BF8-46FF-AAA2-05968A519330}">
      <dgm:prSet/>
      <dgm:spPr/>
      <dgm:t>
        <a:bodyPr/>
        <a:lstStyle/>
        <a:p>
          <a:endParaRPr lang="en-US"/>
        </a:p>
      </dgm:t>
    </dgm:pt>
    <dgm:pt modelId="{23A4C872-C752-4CBB-B820-62B4332BF915}" type="sibTrans" cxnId="{EA607902-9BF8-46FF-AAA2-05968A519330}">
      <dgm:prSet/>
      <dgm:spPr/>
      <dgm:t>
        <a:bodyPr/>
        <a:lstStyle/>
        <a:p>
          <a:endParaRPr lang="en-US"/>
        </a:p>
      </dgm:t>
    </dgm:pt>
    <dgm:pt modelId="{7D3675B4-3075-46CC-AB37-C0CE38589862}">
      <dgm:prSet/>
      <dgm:spPr/>
      <dgm:t>
        <a:bodyPr/>
        <a:lstStyle/>
        <a:p>
          <a:r>
            <a:rPr lang="en-US" b="0" dirty="0"/>
            <a:t>Energy efficiency policy entering Congress</a:t>
          </a:r>
        </a:p>
      </dgm:t>
    </dgm:pt>
    <dgm:pt modelId="{682E30EA-7044-46DF-A1E1-7B007EE52EFE}" type="parTrans" cxnId="{7D1F6090-CEB5-46F5-B867-92595F0C0FD5}">
      <dgm:prSet/>
      <dgm:spPr/>
      <dgm:t>
        <a:bodyPr/>
        <a:lstStyle/>
        <a:p>
          <a:endParaRPr lang="en-US"/>
        </a:p>
      </dgm:t>
    </dgm:pt>
    <dgm:pt modelId="{B71A92AC-EDD9-42DA-B336-12AA86C03EFE}" type="sibTrans" cxnId="{7D1F6090-CEB5-46F5-B867-92595F0C0FD5}">
      <dgm:prSet/>
      <dgm:spPr/>
      <dgm:t>
        <a:bodyPr/>
        <a:lstStyle/>
        <a:p>
          <a:endParaRPr lang="en-US"/>
        </a:p>
      </dgm:t>
    </dgm:pt>
    <dgm:pt modelId="{A336B9F0-4628-42CC-8778-7C238F760089}">
      <dgm:prSet/>
      <dgm:spPr>
        <a:solidFill>
          <a:srgbClr val="68B0AB"/>
        </a:solidFill>
        <a:ln>
          <a:solidFill>
            <a:srgbClr val="68B0AB"/>
          </a:solidFill>
        </a:ln>
      </dgm:spPr>
      <dgm:t>
        <a:bodyPr/>
        <a:lstStyle/>
        <a:p>
          <a:r>
            <a:rPr lang="en-US" b="0"/>
            <a:t>Feb. 2021</a:t>
          </a:r>
        </a:p>
      </dgm:t>
    </dgm:pt>
    <dgm:pt modelId="{6362C794-5B89-4CFA-AB8E-FBA3F222C00F}" type="parTrans" cxnId="{5F2F8725-58FA-4BD1-80A5-A7675C22875B}">
      <dgm:prSet/>
      <dgm:spPr/>
      <dgm:t>
        <a:bodyPr/>
        <a:lstStyle/>
        <a:p>
          <a:endParaRPr lang="en-US"/>
        </a:p>
      </dgm:t>
    </dgm:pt>
    <dgm:pt modelId="{4B2572B2-EEEC-4C64-A550-F3D53437A0A1}" type="sibTrans" cxnId="{5F2F8725-58FA-4BD1-80A5-A7675C22875B}">
      <dgm:prSet/>
      <dgm:spPr/>
      <dgm:t>
        <a:bodyPr/>
        <a:lstStyle/>
        <a:p>
          <a:endParaRPr lang="en-US"/>
        </a:p>
      </dgm:t>
    </dgm:pt>
    <dgm:pt modelId="{6B06414B-420D-4712-9CE8-3D5FBCA2C995}">
      <dgm:prSet/>
      <dgm:spPr/>
      <dgm:t>
        <a:bodyPr/>
        <a:lstStyle/>
        <a:p>
          <a:r>
            <a:rPr lang="en-US" b="1" dirty="0"/>
            <a:t>Publication of the Energy Efficiency Law.</a:t>
          </a:r>
        </a:p>
      </dgm:t>
    </dgm:pt>
    <dgm:pt modelId="{DE621301-F923-45AC-ADDF-074E0E63E201}" type="parTrans" cxnId="{5ABFC0E1-D710-4637-9EB2-BB07602D92F7}">
      <dgm:prSet/>
      <dgm:spPr/>
      <dgm:t>
        <a:bodyPr/>
        <a:lstStyle/>
        <a:p>
          <a:endParaRPr lang="en-US"/>
        </a:p>
      </dgm:t>
    </dgm:pt>
    <dgm:pt modelId="{192804D4-C6DD-4C5A-B317-1077756EFC4D}" type="sibTrans" cxnId="{5ABFC0E1-D710-4637-9EB2-BB07602D92F7}">
      <dgm:prSet/>
      <dgm:spPr/>
      <dgm:t>
        <a:bodyPr/>
        <a:lstStyle/>
        <a:p>
          <a:endParaRPr lang="en-US"/>
        </a:p>
      </dgm:t>
    </dgm:pt>
    <dgm:pt modelId="{3F7A9B2D-A9D1-4AD3-95BC-056D64B1A9BA}">
      <dgm:prSet/>
      <dgm:spPr>
        <a:solidFill>
          <a:srgbClr val="00B050"/>
        </a:solidFill>
        <a:ln>
          <a:solidFill>
            <a:srgbClr val="00B050"/>
          </a:solidFill>
        </a:ln>
      </dgm:spPr>
      <dgm:t>
        <a:bodyPr/>
        <a:lstStyle/>
        <a:p>
          <a:r>
            <a:rPr lang="en-US" b="1"/>
            <a:t>2024</a:t>
          </a:r>
        </a:p>
      </dgm:t>
    </dgm:pt>
    <dgm:pt modelId="{2318A579-14C4-4E3A-B398-29BD9B706537}" type="parTrans" cxnId="{0EBE815F-D6F5-4BE3-A657-D69FE2BCCABD}">
      <dgm:prSet/>
      <dgm:spPr/>
      <dgm:t>
        <a:bodyPr/>
        <a:lstStyle/>
        <a:p>
          <a:endParaRPr lang="en-US"/>
        </a:p>
      </dgm:t>
    </dgm:pt>
    <dgm:pt modelId="{AD5FE1A1-8009-46F4-933C-69B3995A1C1D}" type="sibTrans" cxnId="{0EBE815F-D6F5-4BE3-A657-D69FE2BCCABD}">
      <dgm:prSet/>
      <dgm:spPr/>
      <dgm:t>
        <a:bodyPr/>
        <a:lstStyle/>
        <a:p>
          <a:endParaRPr lang="en-US"/>
        </a:p>
      </dgm:t>
    </dgm:pt>
    <dgm:pt modelId="{97D12A91-DFC2-4B57-818E-2D8A1D21340A}">
      <dgm:prSet/>
      <dgm:spPr/>
      <dgm:t>
        <a:bodyPr/>
        <a:lstStyle/>
        <a:p>
          <a:r>
            <a:rPr lang="en-US" b="0" dirty="0"/>
            <a:t>February: light vehicles entry into force.
April: Publication of Resolution No. 14 that sets the standard for medium-sized vehicles</a:t>
          </a:r>
        </a:p>
      </dgm:t>
    </dgm:pt>
    <dgm:pt modelId="{9C8787AB-050B-468F-B201-7DB3835F9DE0}" type="parTrans" cxnId="{D2C10991-31AD-4AD8-886C-7106F963A72C}">
      <dgm:prSet/>
      <dgm:spPr/>
      <dgm:t>
        <a:bodyPr/>
        <a:lstStyle/>
        <a:p>
          <a:endParaRPr lang="en-US"/>
        </a:p>
      </dgm:t>
    </dgm:pt>
    <dgm:pt modelId="{CE20BF21-5E6D-4A06-91D9-5903A9E72408}" type="sibTrans" cxnId="{D2C10991-31AD-4AD8-886C-7106F963A72C}">
      <dgm:prSet/>
      <dgm:spPr/>
      <dgm:t>
        <a:bodyPr/>
        <a:lstStyle/>
        <a:p>
          <a:endParaRPr lang="en-US"/>
        </a:p>
      </dgm:t>
    </dgm:pt>
    <dgm:pt modelId="{AEC5F47F-638D-4F1A-A12F-ACAC6CC45D6C}">
      <dgm:prSet/>
      <dgm:spPr>
        <a:solidFill>
          <a:srgbClr val="00B050"/>
        </a:solidFill>
        <a:ln>
          <a:solidFill>
            <a:srgbClr val="00B050"/>
          </a:solidFill>
        </a:ln>
      </dgm:spPr>
      <dgm:t>
        <a:bodyPr/>
        <a:lstStyle/>
        <a:p>
          <a:r>
            <a:rPr lang="en-US" b="0"/>
            <a:t>2028</a:t>
          </a:r>
        </a:p>
      </dgm:t>
    </dgm:pt>
    <dgm:pt modelId="{4261E339-ED49-4B31-ABAB-E81A9A100A1E}" type="parTrans" cxnId="{C611D62C-3B2D-45C3-A005-27A0E79C96D6}">
      <dgm:prSet/>
      <dgm:spPr/>
      <dgm:t>
        <a:bodyPr/>
        <a:lstStyle/>
        <a:p>
          <a:endParaRPr lang="en-US"/>
        </a:p>
      </dgm:t>
    </dgm:pt>
    <dgm:pt modelId="{FC005279-E39B-42FD-AB00-06BB06754698}" type="sibTrans" cxnId="{C611D62C-3B2D-45C3-A005-27A0E79C96D6}">
      <dgm:prSet/>
      <dgm:spPr/>
      <dgm:t>
        <a:bodyPr/>
        <a:lstStyle/>
        <a:p>
          <a:endParaRPr lang="en-US"/>
        </a:p>
      </dgm:t>
    </dgm:pt>
    <dgm:pt modelId="{45D294F7-8786-48D3-9B1C-D35D8773E3D9}">
      <dgm:prSet/>
      <dgm:spPr/>
      <dgm:t>
        <a:bodyPr/>
        <a:lstStyle/>
        <a:p>
          <a:r>
            <a:rPr lang="en-US" b="0" dirty="0"/>
            <a:t>Deadline for entry into force of the heavy vehicle standard</a:t>
          </a:r>
        </a:p>
      </dgm:t>
    </dgm:pt>
    <dgm:pt modelId="{2BFF1500-0DDA-46AB-8175-942296D6EEFA}" type="parTrans" cxnId="{64E67690-7551-467A-B97D-9045B30A9B8B}">
      <dgm:prSet/>
      <dgm:spPr/>
      <dgm:t>
        <a:bodyPr/>
        <a:lstStyle/>
        <a:p>
          <a:endParaRPr lang="en-US"/>
        </a:p>
      </dgm:t>
    </dgm:pt>
    <dgm:pt modelId="{C161F37E-DE6C-4911-BF1A-EC33FB6D5529}" type="sibTrans" cxnId="{64E67690-7551-467A-B97D-9045B30A9B8B}">
      <dgm:prSet/>
      <dgm:spPr/>
      <dgm:t>
        <a:bodyPr/>
        <a:lstStyle/>
        <a:p>
          <a:endParaRPr lang="en-US"/>
        </a:p>
      </dgm:t>
    </dgm:pt>
    <dgm:pt modelId="{0A6B3A7F-D990-4374-92A8-3085422F9BBF}">
      <dgm:prSet/>
      <dgm:spPr>
        <a:solidFill>
          <a:srgbClr val="00B050"/>
        </a:solidFill>
        <a:ln>
          <a:solidFill>
            <a:srgbClr val="00B050"/>
          </a:solidFill>
        </a:ln>
      </dgm:spPr>
      <dgm:t>
        <a:bodyPr/>
        <a:lstStyle/>
        <a:p>
          <a:r>
            <a:rPr lang="en-US"/>
            <a:t>2026</a:t>
          </a:r>
        </a:p>
      </dgm:t>
    </dgm:pt>
    <dgm:pt modelId="{F4241D84-C1A8-415A-9B97-6953BFBEBE44}" type="parTrans" cxnId="{5D2EB90D-0059-46DC-8000-E9A3038A55BD}">
      <dgm:prSet/>
      <dgm:spPr/>
      <dgm:t>
        <a:bodyPr/>
        <a:lstStyle/>
        <a:p>
          <a:endParaRPr lang="es-CL"/>
        </a:p>
      </dgm:t>
    </dgm:pt>
    <dgm:pt modelId="{FE791B7C-5C81-47E0-A35E-FA36AB967D9E}" type="sibTrans" cxnId="{5D2EB90D-0059-46DC-8000-E9A3038A55BD}">
      <dgm:prSet/>
      <dgm:spPr/>
      <dgm:t>
        <a:bodyPr/>
        <a:lstStyle/>
        <a:p>
          <a:endParaRPr lang="es-CL"/>
        </a:p>
      </dgm:t>
    </dgm:pt>
    <dgm:pt modelId="{DF6C0C9C-440A-4BE0-A1D4-BDBBA2121361}">
      <dgm:prSet/>
      <dgm:spPr/>
      <dgm:t>
        <a:bodyPr/>
        <a:lstStyle/>
        <a:p>
          <a:r>
            <a:rPr lang="en-US" dirty="0"/>
            <a:t>Feb: standard publication v. heavy.
April: entry into force v. medium.</a:t>
          </a:r>
        </a:p>
      </dgm:t>
    </dgm:pt>
    <dgm:pt modelId="{2856E338-3A34-49BC-8BFD-FC5BCD4EDE9B}" type="parTrans" cxnId="{1064DC57-9512-47E8-AA38-46AE6C2A3E6C}">
      <dgm:prSet/>
      <dgm:spPr/>
      <dgm:t>
        <a:bodyPr/>
        <a:lstStyle/>
        <a:p>
          <a:endParaRPr lang="es-CL"/>
        </a:p>
      </dgm:t>
    </dgm:pt>
    <dgm:pt modelId="{688EFA42-9586-43DB-BABE-9A7E5E2FCB69}" type="sibTrans" cxnId="{1064DC57-9512-47E8-AA38-46AE6C2A3E6C}">
      <dgm:prSet/>
      <dgm:spPr/>
      <dgm:t>
        <a:bodyPr/>
        <a:lstStyle/>
        <a:p>
          <a:endParaRPr lang="es-CL"/>
        </a:p>
      </dgm:t>
    </dgm:pt>
    <dgm:pt modelId="{EBF958DC-45D1-43FA-ABB8-1B6A4090878F}">
      <dgm:prSet phldr="0"/>
      <dgm:spPr>
        <a:solidFill>
          <a:srgbClr val="00B050"/>
        </a:solidFill>
        <a:ln>
          <a:solidFill>
            <a:srgbClr val="00B050"/>
          </a:solidFill>
        </a:ln>
      </dgm:spPr>
      <dgm:t>
        <a:bodyPr/>
        <a:lstStyle/>
        <a:p>
          <a:pPr rtl="0"/>
          <a:r>
            <a:rPr lang="en-US" b="0">
              <a:latin typeface="Poppins"/>
            </a:rPr>
            <a:t>Feb. 2022</a:t>
          </a:r>
        </a:p>
      </dgm:t>
    </dgm:pt>
    <dgm:pt modelId="{9712E9A8-3339-4D76-97C6-60301B9584D8}" type="parTrans" cxnId="{8270740E-7C3A-4CDF-A7EA-9CB3D815369F}">
      <dgm:prSet/>
      <dgm:spPr/>
      <dgm:t>
        <a:bodyPr/>
        <a:lstStyle/>
        <a:p>
          <a:endParaRPr lang="es-CL"/>
        </a:p>
      </dgm:t>
    </dgm:pt>
    <dgm:pt modelId="{ED0076A6-2648-48C2-AA38-D2680A2AC8D8}" type="sibTrans" cxnId="{8270740E-7C3A-4CDF-A7EA-9CB3D815369F}">
      <dgm:prSet/>
      <dgm:spPr/>
      <dgm:t>
        <a:bodyPr/>
        <a:lstStyle/>
        <a:p>
          <a:endParaRPr lang="es-CL"/>
        </a:p>
      </dgm:t>
    </dgm:pt>
    <dgm:pt modelId="{B79AA00B-786D-4FC7-A28F-4526FEAEE60E}">
      <dgm:prSet phldr="0"/>
      <dgm:spPr/>
      <dgm:t>
        <a:bodyPr/>
        <a:lstStyle/>
        <a:p>
          <a:pPr rtl="0"/>
          <a:r>
            <a:rPr lang="en-US" dirty="0"/>
            <a:t>Publication of Resolution N°5 that sets standards for light vehicles.</a:t>
          </a:r>
          <a:endParaRPr lang="en-US" b="0" dirty="0">
            <a:latin typeface="Poppins"/>
          </a:endParaRPr>
        </a:p>
      </dgm:t>
    </dgm:pt>
    <dgm:pt modelId="{3223005F-434F-4025-B744-1090B2BB222D}" type="parTrans" cxnId="{4C3A8007-72BC-4708-BCF2-BBDEE0C6F2FE}">
      <dgm:prSet/>
      <dgm:spPr/>
      <dgm:t>
        <a:bodyPr/>
        <a:lstStyle/>
        <a:p>
          <a:endParaRPr lang="es-CL"/>
        </a:p>
      </dgm:t>
    </dgm:pt>
    <dgm:pt modelId="{8457B18D-E505-4EB1-B848-317953D6AD9D}" type="sibTrans" cxnId="{4C3A8007-72BC-4708-BCF2-BBDEE0C6F2FE}">
      <dgm:prSet/>
      <dgm:spPr/>
      <dgm:t>
        <a:bodyPr/>
        <a:lstStyle/>
        <a:p>
          <a:endParaRPr lang="es-CL"/>
        </a:p>
      </dgm:t>
    </dgm:pt>
    <dgm:pt modelId="{EA1395A7-BABE-4F03-AD5D-2266326D3D03}">
      <dgm:prSet/>
      <dgm:spPr>
        <a:solidFill>
          <a:srgbClr val="001F60"/>
        </a:solidFill>
        <a:ln>
          <a:solidFill>
            <a:srgbClr val="001F60"/>
          </a:solidFill>
        </a:ln>
      </dgm:spPr>
      <dgm:t>
        <a:bodyPr/>
        <a:lstStyle/>
        <a:p>
          <a:r>
            <a:rPr lang="en-US" dirty="0"/>
            <a:t>Aug. 2012</a:t>
          </a:r>
        </a:p>
      </dgm:t>
    </dgm:pt>
    <dgm:pt modelId="{399B732E-66B7-4B5D-A1C6-951D63ADD3BB}" type="parTrans" cxnId="{0B6217EC-19BF-47AB-AA8C-BF268080F830}">
      <dgm:prSet/>
      <dgm:spPr/>
      <dgm:t>
        <a:bodyPr/>
        <a:lstStyle/>
        <a:p>
          <a:endParaRPr lang="es-CL"/>
        </a:p>
      </dgm:t>
    </dgm:pt>
    <dgm:pt modelId="{8AFBAEDD-7C30-477A-B532-229E595C8384}" type="sibTrans" cxnId="{0B6217EC-19BF-47AB-AA8C-BF268080F830}">
      <dgm:prSet/>
      <dgm:spPr/>
      <dgm:t>
        <a:bodyPr/>
        <a:lstStyle/>
        <a:p>
          <a:endParaRPr lang="es-CL"/>
        </a:p>
      </dgm:t>
    </dgm:pt>
    <dgm:pt modelId="{DB3C4AAD-02E1-403E-95FA-48F65A183B48}">
      <dgm:prSet custT="1"/>
      <dgm:spPr>
        <a:noFill/>
        <a:ln>
          <a:noFill/>
        </a:ln>
        <a:effectLst/>
      </dgm:spPr>
      <dgm:t>
        <a:bodyPr spcFirstLastPara="0" vert="horz" wrap="square" lIns="0" tIns="0" rIns="0" bIns="99060" numCol="1" spcCol="1270" anchor="b" anchorCtr="1"/>
        <a:lstStyle/>
        <a:p>
          <a:pPr marL="0" lvl="0" indent="0" algn="ctr" defTabSz="577850">
            <a:lnSpc>
              <a:spcPct val="90000"/>
            </a:lnSpc>
            <a:spcBef>
              <a:spcPct val="0"/>
            </a:spcBef>
            <a:spcAft>
              <a:spcPct val="35000"/>
            </a:spcAft>
            <a:buNone/>
          </a:pPr>
          <a:r>
            <a:rPr lang="en-US" sz="1300" kern="1200" dirty="0">
              <a:solidFill>
                <a:srgbClr val="001F60">
                  <a:hueOff val="0"/>
                  <a:satOff val="0"/>
                  <a:lumOff val="0"/>
                  <a:alphaOff val="0"/>
                </a:srgbClr>
              </a:solidFill>
              <a:latin typeface="Century Gothic"/>
              <a:ea typeface="+mn-ea"/>
              <a:cs typeface="+mn-cs"/>
            </a:rPr>
            <a:t>D. 61: Vehicle Labeling Regulations.</a:t>
          </a:r>
        </a:p>
      </dgm:t>
    </dgm:pt>
    <dgm:pt modelId="{4B5FE38C-4D15-41E9-8BE5-0F6716FBCD39}" type="parTrans" cxnId="{73FCB680-7F3C-4AAA-B799-4BD1D7DA69EA}">
      <dgm:prSet/>
      <dgm:spPr/>
      <dgm:t>
        <a:bodyPr/>
        <a:lstStyle/>
        <a:p>
          <a:endParaRPr lang="es-CL"/>
        </a:p>
      </dgm:t>
    </dgm:pt>
    <dgm:pt modelId="{D7623F5D-B2F1-406B-BBB8-E7B25CFED5A3}" type="sibTrans" cxnId="{73FCB680-7F3C-4AAA-B799-4BD1D7DA69EA}">
      <dgm:prSet/>
      <dgm:spPr/>
      <dgm:t>
        <a:bodyPr/>
        <a:lstStyle/>
        <a:p>
          <a:endParaRPr lang="es-CL"/>
        </a:p>
      </dgm:t>
    </dgm:pt>
    <dgm:pt modelId="{582E6E34-7EF7-4E8E-8DC8-4DD5129E11B3}" type="pres">
      <dgm:prSet presAssocID="{1933674C-4290-42B7-AF47-6EE61E1C3C28}" presName="Name0" presStyleCnt="0">
        <dgm:presLayoutVars>
          <dgm:chMax/>
          <dgm:chPref/>
          <dgm:animLvl val="lvl"/>
        </dgm:presLayoutVars>
      </dgm:prSet>
      <dgm:spPr/>
    </dgm:pt>
    <dgm:pt modelId="{B8FBED92-F528-4356-A34A-87F36E936788}" type="pres">
      <dgm:prSet presAssocID="{EA1395A7-BABE-4F03-AD5D-2266326D3D03}" presName="composite1" presStyleCnt="0"/>
      <dgm:spPr/>
    </dgm:pt>
    <dgm:pt modelId="{B0FBAA9D-3C98-4312-ABD5-AAC590CA1F4B}" type="pres">
      <dgm:prSet presAssocID="{EA1395A7-BABE-4F03-AD5D-2266326D3D03}" presName="parent1" presStyleLbl="alignNode1" presStyleIdx="0" presStyleCnt="9">
        <dgm:presLayoutVars>
          <dgm:chMax val="1"/>
          <dgm:chPref val="1"/>
          <dgm:bulletEnabled val="1"/>
        </dgm:presLayoutVars>
      </dgm:prSet>
      <dgm:spPr/>
    </dgm:pt>
    <dgm:pt modelId="{9D875279-7F85-451B-AA08-DCB5C149A1E7}" type="pres">
      <dgm:prSet presAssocID="{EA1395A7-BABE-4F03-AD5D-2266326D3D03}" presName="Childtext1" presStyleLbl="revTx" presStyleIdx="0" presStyleCnt="9">
        <dgm:presLayoutVars>
          <dgm:bulletEnabled val="1"/>
        </dgm:presLayoutVars>
      </dgm:prSet>
      <dgm:spPr>
        <a:xfrm>
          <a:off x="1540" y="0"/>
          <a:ext cx="1812503" cy="1522968"/>
        </a:xfrm>
        <a:prstGeom prst="rect">
          <a:avLst/>
        </a:prstGeom>
      </dgm:spPr>
    </dgm:pt>
    <dgm:pt modelId="{4A3D8B02-1214-46CE-8A43-CE419735DC67}" type="pres">
      <dgm:prSet presAssocID="{EA1395A7-BABE-4F03-AD5D-2266326D3D03}" presName="ConnectLine1" presStyleLbl="sibTrans1D1" presStyleIdx="0" presStyleCnt="9"/>
      <dgm:spPr>
        <a:noFill/>
        <a:ln w="6350" cap="flat" cmpd="sng" algn="ctr">
          <a:solidFill>
            <a:srgbClr val="001F60"/>
          </a:solidFill>
          <a:prstDash val="dash"/>
          <a:miter lim="800000"/>
        </a:ln>
        <a:effectLst/>
      </dgm:spPr>
    </dgm:pt>
    <dgm:pt modelId="{2C15677D-C56F-46EC-92F5-8582B34D741B}" type="pres">
      <dgm:prSet presAssocID="{EA1395A7-BABE-4F03-AD5D-2266326D3D03}" presName="ConnectLineEnd1" presStyleLbl="lnNode1" presStyleIdx="0" presStyleCnt="9"/>
      <dgm:spPr>
        <a:solidFill>
          <a:srgbClr val="001F60"/>
        </a:solidFill>
        <a:ln>
          <a:solidFill>
            <a:srgbClr val="001F60"/>
          </a:solidFill>
        </a:ln>
      </dgm:spPr>
    </dgm:pt>
    <dgm:pt modelId="{9374628A-9096-4DE9-BB86-A1F6F3582EB5}" type="pres">
      <dgm:prSet presAssocID="{EA1395A7-BABE-4F03-AD5D-2266326D3D03}" presName="EmptyPane1" presStyleCnt="0"/>
      <dgm:spPr/>
    </dgm:pt>
    <dgm:pt modelId="{84E7C9CA-F6AA-46DF-9FA1-C3D3B8BC96BF}" type="pres">
      <dgm:prSet presAssocID="{8AFBAEDD-7C30-477A-B532-229E595C8384}" presName="spaceBetweenRectangles1" presStyleCnt="0"/>
      <dgm:spPr/>
    </dgm:pt>
    <dgm:pt modelId="{B6601F5E-6E50-4D53-B6F8-A4C229DDDE65}" type="pres">
      <dgm:prSet presAssocID="{CE8FFBC8-E2BA-47DA-9E56-BC017E100402}" presName="composite1" presStyleCnt="0"/>
      <dgm:spPr/>
    </dgm:pt>
    <dgm:pt modelId="{CA993503-35AA-4DE5-9382-1AE376E2B913}" type="pres">
      <dgm:prSet presAssocID="{CE8FFBC8-E2BA-47DA-9E56-BC017E100402}" presName="parent1" presStyleLbl="alignNode1" presStyleIdx="1" presStyleCnt="9">
        <dgm:presLayoutVars>
          <dgm:chMax val="1"/>
          <dgm:chPref val="1"/>
          <dgm:bulletEnabled val="1"/>
        </dgm:presLayoutVars>
      </dgm:prSet>
      <dgm:spPr/>
    </dgm:pt>
    <dgm:pt modelId="{ACC77FD0-3BD4-4641-AF46-F6078067D98A}" type="pres">
      <dgm:prSet presAssocID="{CE8FFBC8-E2BA-47DA-9E56-BC017E100402}" presName="Childtext1" presStyleLbl="revTx" presStyleIdx="1" presStyleCnt="9">
        <dgm:presLayoutVars>
          <dgm:bulletEnabled val="1"/>
        </dgm:presLayoutVars>
      </dgm:prSet>
      <dgm:spPr/>
    </dgm:pt>
    <dgm:pt modelId="{E1B6C157-3DC8-4DC1-B2D6-0DA5F839CE5B}" type="pres">
      <dgm:prSet presAssocID="{CE8FFBC8-E2BA-47DA-9E56-BC017E100402}" presName="ConnectLine1" presStyleLbl="sibTrans1D1" presStyleIdx="1" presStyleCnt="9"/>
      <dgm:spPr>
        <a:noFill/>
        <a:ln w="6350" cap="flat" cmpd="sng" algn="ctr">
          <a:solidFill>
            <a:srgbClr val="001F60"/>
          </a:solidFill>
          <a:prstDash val="dash"/>
          <a:miter lim="800000"/>
        </a:ln>
        <a:effectLst/>
      </dgm:spPr>
    </dgm:pt>
    <dgm:pt modelId="{4D28EF5E-2DC7-483D-814A-922388E608E1}" type="pres">
      <dgm:prSet presAssocID="{CE8FFBC8-E2BA-47DA-9E56-BC017E100402}" presName="ConnectLineEnd1" presStyleLbl="lnNode1" presStyleIdx="1" presStyleCnt="9"/>
      <dgm:spPr>
        <a:solidFill>
          <a:srgbClr val="001F60"/>
        </a:solidFill>
        <a:ln>
          <a:solidFill>
            <a:srgbClr val="001F60"/>
          </a:solidFill>
        </a:ln>
      </dgm:spPr>
    </dgm:pt>
    <dgm:pt modelId="{42930C36-AAA2-4419-A3AD-9E546C999762}" type="pres">
      <dgm:prSet presAssocID="{CE8FFBC8-E2BA-47DA-9E56-BC017E100402}" presName="EmptyPane1" presStyleCnt="0"/>
      <dgm:spPr/>
    </dgm:pt>
    <dgm:pt modelId="{B8F227CD-8022-433C-AD56-963C3E06F0C4}" type="pres">
      <dgm:prSet presAssocID="{E5DD65D9-4D81-4A76-B0AC-C96CA8632279}" presName="spaceBetweenRectangles1" presStyleCnt="0"/>
      <dgm:spPr/>
    </dgm:pt>
    <dgm:pt modelId="{21BE2410-2557-4311-ABED-4458E88B4538}" type="pres">
      <dgm:prSet presAssocID="{32937003-63D0-4FDC-9666-4B319A3B4D99}" presName="composite1" presStyleCnt="0"/>
      <dgm:spPr/>
    </dgm:pt>
    <dgm:pt modelId="{19B304C7-80EC-40B9-92A7-EE53243978E3}" type="pres">
      <dgm:prSet presAssocID="{32937003-63D0-4FDC-9666-4B319A3B4D99}" presName="parent1" presStyleLbl="alignNode1" presStyleIdx="2" presStyleCnt="9">
        <dgm:presLayoutVars>
          <dgm:chMax val="1"/>
          <dgm:chPref val="1"/>
          <dgm:bulletEnabled val="1"/>
        </dgm:presLayoutVars>
      </dgm:prSet>
      <dgm:spPr/>
    </dgm:pt>
    <dgm:pt modelId="{37DBEC9D-597E-4952-82EA-61209C019F08}" type="pres">
      <dgm:prSet presAssocID="{32937003-63D0-4FDC-9666-4B319A3B4D99}" presName="Childtext1" presStyleLbl="revTx" presStyleIdx="2" presStyleCnt="9">
        <dgm:presLayoutVars>
          <dgm:bulletEnabled val="1"/>
        </dgm:presLayoutVars>
      </dgm:prSet>
      <dgm:spPr/>
    </dgm:pt>
    <dgm:pt modelId="{136FD358-C3D4-4C41-8E55-CF28497117C0}" type="pres">
      <dgm:prSet presAssocID="{32937003-63D0-4FDC-9666-4B319A3B4D99}" presName="ConnectLine1" presStyleLbl="sibTrans1D1" presStyleIdx="2" presStyleCnt="9"/>
      <dgm:spPr>
        <a:noFill/>
        <a:ln w="6350" cap="flat" cmpd="sng" algn="ctr">
          <a:solidFill>
            <a:srgbClr val="001F60"/>
          </a:solidFill>
          <a:prstDash val="dash"/>
          <a:miter lim="800000"/>
        </a:ln>
        <a:effectLst/>
      </dgm:spPr>
    </dgm:pt>
    <dgm:pt modelId="{961F41ED-A44D-43E9-B176-1927CE1B7AAC}" type="pres">
      <dgm:prSet presAssocID="{32937003-63D0-4FDC-9666-4B319A3B4D99}" presName="ConnectLineEnd1" presStyleLbl="lnNode1" presStyleIdx="2" presStyleCnt="9"/>
      <dgm:spPr>
        <a:solidFill>
          <a:srgbClr val="001F60"/>
        </a:solidFill>
        <a:ln>
          <a:solidFill>
            <a:srgbClr val="001F60"/>
          </a:solidFill>
        </a:ln>
      </dgm:spPr>
    </dgm:pt>
    <dgm:pt modelId="{E84627D0-8B12-49E5-AF85-2A89071E0157}" type="pres">
      <dgm:prSet presAssocID="{32937003-63D0-4FDC-9666-4B319A3B4D99}" presName="EmptyPane1" presStyleCnt="0"/>
      <dgm:spPr/>
    </dgm:pt>
    <dgm:pt modelId="{583FF185-FE9C-4FEF-8747-635280881B61}" type="pres">
      <dgm:prSet presAssocID="{B91B7E21-CF4D-4D85-824E-CFC64C024D9B}" presName="spaceBetweenRectangles1" presStyleCnt="0"/>
      <dgm:spPr/>
    </dgm:pt>
    <dgm:pt modelId="{815B94F3-CB8A-44FC-AA02-A27B7DB616F7}" type="pres">
      <dgm:prSet presAssocID="{501F7932-FC98-41F8-A403-0E1BF3B99541}" presName="composite1" presStyleCnt="0"/>
      <dgm:spPr/>
    </dgm:pt>
    <dgm:pt modelId="{993BF293-EAD5-4DFC-8662-4CFDF4A0D5F3}" type="pres">
      <dgm:prSet presAssocID="{501F7932-FC98-41F8-A403-0E1BF3B99541}" presName="parent1" presStyleLbl="alignNode1" presStyleIdx="3" presStyleCnt="9">
        <dgm:presLayoutVars>
          <dgm:chMax val="1"/>
          <dgm:chPref val="1"/>
          <dgm:bulletEnabled val="1"/>
        </dgm:presLayoutVars>
      </dgm:prSet>
      <dgm:spPr/>
    </dgm:pt>
    <dgm:pt modelId="{C852B168-8BB4-484E-8B45-E818EB563ACD}" type="pres">
      <dgm:prSet presAssocID="{501F7932-FC98-41F8-A403-0E1BF3B99541}" presName="Childtext1" presStyleLbl="revTx" presStyleIdx="3" presStyleCnt="9">
        <dgm:presLayoutVars>
          <dgm:bulletEnabled val="1"/>
        </dgm:presLayoutVars>
      </dgm:prSet>
      <dgm:spPr/>
    </dgm:pt>
    <dgm:pt modelId="{1EE77A18-3D62-421E-872D-1F0DC1BFCC4F}" type="pres">
      <dgm:prSet presAssocID="{501F7932-FC98-41F8-A403-0E1BF3B99541}" presName="ConnectLine1" presStyleLbl="sibTrans1D1" presStyleIdx="3" presStyleCnt="9"/>
      <dgm:spPr>
        <a:noFill/>
        <a:ln w="6350" cap="flat" cmpd="sng" algn="ctr">
          <a:solidFill>
            <a:srgbClr val="68B0AB"/>
          </a:solidFill>
          <a:prstDash val="dash"/>
          <a:miter lim="800000"/>
        </a:ln>
        <a:effectLst/>
      </dgm:spPr>
    </dgm:pt>
    <dgm:pt modelId="{D9DA2A49-8D17-4824-86BD-98B72C3CF269}" type="pres">
      <dgm:prSet presAssocID="{501F7932-FC98-41F8-A403-0E1BF3B99541}" presName="ConnectLineEnd1" presStyleLbl="lnNode1" presStyleIdx="3" presStyleCnt="9"/>
      <dgm:spPr>
        <a:solidFill>
          <a:srgbClr val="68B0AB"/>
        </a:solidFill>
        <a:ln>
          <a:solidFill>
            <a:srgbClr val="68B0AB"/>
          </a:solidFill>
        </a:ln>
      </dgm:spPr>
    </dgm:pt>
    <dgm:pt modelId="{0E6B972F-4FE5-4947-AF45-2CBEB2C2922F}" type="pres">
      <dgm:prSet presAssocID="{501F7932-FC98-41F8-A403-0E1BF3B99541}" presName="EmptyPane1" presStyleCnt="0"/>
      <dgm:spPr/>
    </dgm:pt>
    <dgm:pt modelId="{4169DDFA-34B0-4091-950E-140D665B6360}" type="pres">
      <dgm:prSet presAssocID="{23A4C872-C752-4CBB-B820-62B4332BF915}" presName="spaceBetweenRectangles1" presStyleCnt="0"/>
      <dgm:spPr/>
    </dgm:pt>
    <dgm:pt modelId="{4A4F7C4D-C127-46B7-9D78-DC31D4D01D0D}" type="pres">
      <dgm:prSet presAssocID="{A336B9F0-4628-42CC-8778-7C238F760089}" presName="composite1" presStyleCnt="0"/>
      <dgm:spPr/>
    </dgm:pt>
    <dgm:pt modelId="{9174D865-B074-4541-8434-6DAB84D74850}" type="pres">
      <dgm:prSet presAssocID="{A336B9F0-4628-42CC-8778-7C238F760089}" presName="parent1" presStyleLbl="alignNode1" presStyleIdx="4" presStyleCnt="9">
        <dgm:presLayoutVars>
          <dgm:chMax val="1"/>
          <dgm:chPref val="1"/>
          <dgm:bulletEnabled val="1"/>
        </dgm:presLayoutVars>
      </dgm:prSet>
      <dgm:spPr/>
    </dgm:pt>
    <dgm:pt modelId="{B240B086-CBA3-4C72-84AC-C1AC4E24786A}" type="pres">
      <dgm:prSet presAssocID="{A336B9F0-4628-42CC-8778-7C238F760089}" presName="Childtext1" presStyleLbl="revTx" presStyleIdx="4" presStyleCnt="9">
        <dgm:presLayoutVars>
          <dgm:bulletEnabled val="1"/>
        </dgm:presLayoutVars>
      </dgm:prSet>
      <dgm:spPr/>
    </dgm:pt>
    <dgm:pt modelId="{40D6440E-8C75-4CE0-B68D-0D7D338B208A}" type="pres">
      <dgm:prSet presAssocID="{A336B9F0-4628-42CC-8778-7C238F760089}" presName="ConnectLine1" presStyleLbl="sibTrans1D1" presStyleIdx="4" presStyleCnt="9"/>
      <dgm:spPr>
        <a:noFill/>
        <a:ln w="6350" cap="flat" cmpd="sng" algn="ctr">
          <a:solidFill>
            <a:srgbClr val="68B0AB"/>
          </a:solidFill>
          <a:prstDash val="dash"/>
          <a:miter lim="800000"/>
        </a:ln>
        <a:effectLst/>
      </dgm:spPr>
    </dgm:pt>
    <dgm:pt modelId="{B902014F-A5AF-4EB9-B0BA-2DB93905E7B6}" type="pres">
      <dgm:prSet presAssocID="{A336B9F0-4628-42CC-8778-7C238F760089}" presName="ConnectLineEnd1" presStyleLbl="lnNode1" presStyleIdx="4" presStyleCnt="9"/>
      <dgm:spPr>
        <a:solidFill>
          <a:srgbClr val="68B0AB"/>
        </a:solidFill>
        <a:ln>
          <a:solidFill>
            <a:srgbClr val="68B0AB"/>
          </a:solidFill>
        </a:ln>
      </dgm:spPr>
    </dgm:pt>
    <dgm:pt modelId="{262CC101-A504-4817-9333-2D26AEEFE7FB}" type="pres">
      <dgm:prSet presAssocID="{A336B9F0-4628-42CC-8778-7C238F760089}" presName="EmptyPane1" presStyleCnt="0"/>
      <dgm:spPr/>
    </dgm:pt>
    <dgm:pt modelId="{7D386461-054B-4286-AB75-7A64CAA0C632}" type="pres">
      <dgm:prSet presAssocID="{4B2572B2-EEEC-4C64-A550-F3D53437A0A1}" presName="spaceBetweenRectangles1" presStyleCnt="0"/>
      <dgm:spPr/>
    </dgm:pt>
    <dgm:pt modelId="{7F0CADF0-3892-40FF-9D2A-3B65DF2DBC6E}" type="pres">
      <dgm:prSet presAssocID="{EBF958DC-45D1-43FA-ABB8-1B6A4090878F}" presName="composite1" presStyleCnt="0"/>
      <dgm:spPr/>
    </dgm:pt>
    <dgm:pt modelId="{DDEE2088-9C66-48A1-BA1E-3D701A3ECC0B}" type="pres">
      <dgm:prSet presAssocID="{EBF958DC-45D1-43FA-ABB8-1B6A4090878F}" presName="parent1" presStyleLbl="alignNode1" presStyleIdx="5" presStyleCnt="9">
        <dgm:presLayoutVars>
          <dgm:chMax val="1"/>
          <dgm:chPref val="1"/>
          <dgm:bulletEnabled val="1"/>
        </dgm:presLayoutVars>
      </dgm:prSet>
      <dgm:spPr/>
    </dgm:pt>
    <dgm:pt modelId="{B660B7E2-A753-4C49-8170-860DE8831991}" type="pres">
      <dgm:prSet presAssocID="{EBF958DC-45D1-43FA-ABB8-1B6A4090878F}" presName="Childtext1" presStyleLbl="revTx" presStyleIdx="5" presStyleCnt="9">
        <dgm:presLayoutVars>
          <dgm:bulletEnabled val="1"/>
        </dgm:presLayoutVars>
      </dgm:prSet>
      <dgm:spPr/>
    </dgm:pt>
    <dgm:pt modelId="{85CECBD0-93CC-42AE-8F6F-ECC2ED561C5A}" type="pres">
      <dgm:prSet presAssocID="{EBF958DC-45D1-43FA-ABB8-1B6A4090878F}" presName="ConnectLine1" presStyleLbl="sibTrans1D1" presStyleIdx="5" presStyleCnt="9"/>
      <dgm:spPr>
        <a:noFill/>
        <a:ln w="6350" cap="flat" cmpd="sng" algn="ctr">
          <a:solidFill>
            <a:srgbClr val="00B050"/>
          </a:solidFill>
          <a:prstDash val="dash"/>
          <a:miter lim="800000"/>
        </a:ln>
        <a:effectLst/>
      </dgm:spPr>
    </dgm:pt>
    <dgm:pt modelId="{2785E163-1756-42E5-8694-20F106FC4464}" type="pres">
      <dgm:prSet presAssocID="{EBF958DC-45D1-43FA-ABB8-1B6A4090878F}" presName="ConnectLineEnd1" presStyleLbl="lnNode1" presStyleIdx="5" presStyleCnt="9"/>
      <dgm:spPr>
        <a:solidFill>
          <a:srgbClr val="00B050"/>
        </a:solidFill>
        <a:ln>
          <a:solidFill>
            <a:srgbClr val="00B050"/>
          </a:solidFill>
        </a:ln>
      </dgm:spPr>
    </dgm:pt>
    <dgm:pt modelId="{B45A278E-AEF7-4742-B1A7-8372F4A1E90A}" type="pres">
      <dgm:prSet presAssocID="{EBF958DC-45D1-43FA-ABB8-1B6A4090878F}" presName="EmptyPane1" presStyleCnt="0"/>
      <dgm:spPr/>
    </dgm:pt>
    <dgm:pt modelId="{76EBBE79-F1A6-451B-93B8-1FD5832E5E29}" type="pres">
      <dgm:prSet presAssocID="{ED0076A6-2648-48C2-AA38-D2680A2AC8D8}" presName="spaceBetweenRectangles1" presStyleCnt="0"/>
      <dgm:spPr/>
    </dgm:pt>
    <dgm:pt modelId="{DCA48090-C4C7-4736-BDE0-C25D3FF0EE70}" type="pres">
      <dgm:prSet presAssocID="{3F7A9B2D-A9D1-4AD3-95BC-056D64B1A9BA}" presName="composite1" presStyleCnt="0"/>
      <dgm:spPr/>
    </dgm:pt>
    <dgm:pt modelId="{B29DDCB8-A7CE-4ABC-A765-5150F894F2C7}" type="pres">
      <dgm:prSet presAssocID="{3F7A9B2D-A9D1-4AD3-95BC-056D64B1A9BA}" presName="parent1" presStyleLbl="alignNode1" presStyleIdx="6" presStyleCnt="9">
        <dgm:presLayoutVars>
          <dgm:chMax val="1"/>
          <dgm:chPref val="1"/>
          <dgm:bulletEnabled val="1"/>
        </dgm:presLayoutVars>
      </dgm:prSet>
      <dgm:spPr/>
    </dgm:pt>
    <dgm:pt modelId="{52ED8438-FA17-459A-A442-A91BA1199954}" type="pres">
      <dgm:prSet presAssocID="{3F7A9B2D-A9D1-4AD3-95BC-056D64B1A9BA}" presName="Childtext1" presStyleLbl="revTx" presStyleIdx="6" presStyleCnt="9">
        <dgm:presLayoutVars>
          <dgm:bulletEnabled val="1"/>
        </dgm:presLayoutVars>
      </dgm:prSet>
      <dgm:spPr/>
    </dgm:pt>
    <dgm:pt modelId="{A46217C5-00DB-444E-B512-719594E522DA}" type="pres">
      <dgm:prSet presAssocID="{3F7A9B2D-A9D1-4AD3-95BC-056D64B1A9BA}" presName="ConnectLine1" presStyleLbl="sibTrans1D1" presStyleIdx="6" presStyleCnt="9"/>
      <dgm:spPr>
        <a:noFill/>
        <a:ln w="6350" cap="flat" cmpd="sng" algn="ctr">
          <a:solidFill>
            <a:srgbClr val="00B050"/>
          </a:solidFill>
          <a:prstDash val="dash"/>
          <a:miter lim="800000"/>
        </a:ln>
        <a:effectLst/>
      </dgm:spPr>
    </dgm:pt>
    <dgm:pt modelId="{44CFEE9C-A5F8-4D60-828D-5EE23D37A2AF}" type="pres">
      <dgm:prSet presAssocID="{3F7A9B2D-A9D1-4AD3-95BC-056D64B1A9BA}" presName="ConnectLineEnd1" presStyleLbl="lnNode1" presStyleIdx="6" presStyleCnt="9"/>
      <dgm:spPr>
        <a:solidFill>
          <a:srgbClr val="00B050"/>
        </a:solidFill>
        <a:ln>
          <a:solidFill>
            <a:srgbClr val="00B050"/>
          </a:solidFill>
        </a:ln>
      </dgm:spPr>
    </dgm:pt>
    <dgm:pt modelId="{9FBEA5F3-E30F-4694-A273-A0D892D8227E}" type="pres">
      <dgm:prSet presAssocID="{3F7A9B2D-A9D1-4AD3-95BC-056D64B1A9BA}" presName="EmptyPane1" presStyleCnt="0"/>
      <dgm:spPr/>
    </dgm:pt>
    <dgm:pt modelId="{C95FF623-1D85-45C2-8DDF-4A0CB0BCE42A}" type="pres">
      <dgm:prSet presAssocID="{AD5FE1A1-8009-46F4-933C-69B3995A1C1D}" presName="spaceBetweenRectangles1" presStyleCnt="0"/>
      <dgm:spPr/>
    </dgm:pt>
    <dgm:pt modelId="{1E1A2C0D-A221-4975-B9BE-2C06F3BEB1A6}" type="pres">
      <dgm:prSet presAssocID="{0A6B3A7F-D990-4374-92A8-3085422F9BBF}" presName="composite1" presStyleCnt="0"/>
      <dgm:spPr/>
    </dgm:pt>
    <dgm:pt modelId="{683B96C1-17D5-429D-B75D-F558A960CE0C}" type="pres">
      <dgm:prSet presAssocID="{0A6B3A7F-D990-4374-92A8-3085422F9BBF}" presName="parent1" presStyleLbl="alignNode1" presStyleIdx="7" presStyleCnt="9">
        <dgm:presLayoutVars>
          <dgm:chMax val="1"/>
          <dgm:chPref val="1"/>
          <dgm:bulletEnabled val="1"/>
        </dgm:presLayoutVars>
      </dgm:prSet>
      <dgm:spPr/>
    </dgm:pt>
    <dgm:pt modelId="{DE7E5952-8F38-4C15-BBC0-A95779E9EF38}" type="pres">
      <dgm:prSet presAssocID="{0A6B3A7F-D990-4374-92A8-3085422F9BBF}" presName="Childtext1" presStyleLbl="revTx" presStyleIdx="7" presStyleCnt="9" custLinFactNeighborX="2829" custLinFactNeighborY="14615">
        <dgm:presLayoutVars>
          <dgm:bulletEnabled val="1"/>
        </dgm:presLayoutVars>
      </dgm:prSet>
      <dgm:spPr/>
    </dgm:pt>
    <dgm:pt modelId="{B40660E7-480B-4517-8336-4F32C2822BE3}" type="pres">
      <dgm:prSet presAssocID="{0A6B3A7F-D990-4374-92A8-3085422F9BBF}" presName="ConnectLine1" presStyleLbl="sibTrans1D1" presStyleIdx="7" presStyleCnt="9"/>
      <dgm:spPr>
        <a:noFill/>
        <a:ln w="6350" cap="flat" cmpd="sng" algn="ctr">
          <a:solidFill>
            <a:srgbClr val="00B050"/>
          </a:solidFill>
          <a:prstDash val="dash"/>
          <a:miter lim="800000"/>
        </a:ln>
        <a:effectLst/>
      </dgm:spPr>
    </dgm:pt>
    <dgm:pt modelId="{12D427F4-99AD-4AF6-848D-32B3B6C1983E}" type="pres">
      <dgm:prSet presAssocID="{0A6B3A7F-D990-4374-92A8-3085422F9BBF}" presName="ConnectLineEnd1" presStyleLbl="lnNode1" presStyleIdx="7" presStyleCnt="9"/>
      <dgm:spPr>
        <a:solidFill>
          <a:srgbClr val="00B050"/>
        </a:solidFill>
        <a:ln>
          <a:solidFill>
            <a:srgbClr val="00B050"/>
          </a:solidFill>
        </a:ln>
      </dgm:spPr>
    </dgm:pt>
    <dgm:pt modelId="{4DC2DD4D-783A-4F14-A369-DD175E0F2EED}" type="pres">
      <dgm:prSet presAssocID="{0A6B3A7F-D990-4374-92A8-3085422F9BBF}" presName="EmptyPane1" presStyleCnt="0"/>
      <dgm:spPr/>
    </dgm:pt>
    <dgm:pt modelId="{4DB46ABC-6AFC-4A20-868C-852BFC0F46A7}" type="pres">
      <dgm:prSet presAssocID="{FE791B7C-5C81-47E0-A35E-FA36AB967D9E}" presName="spaceBetweenRectangles1" presStyleCnt="0"/>
      <dgm:spPr/>
    </dgm:pt>
    <dgm:pt modelId="{0A8539D0-CD49-4A94-BD8A-C11C9468C477}" type="pres">
      <dgm:prSet presAssocID="{AEC5F47F-638D-4F1A-A12F-ACAC6CC45D6C}" presName="composite1" presStyleCnt="0"/>
      <dgm:spPr/>
    </dgm:pt>
    <dgm:pt modelId="{5EE58C29-08CA-4BD6-8750-F9DF2B5218E3}" type="pres">
      <dgm:prSet presAssocID="{AEC5F47F-638D-4F1A-A12F-ACAC6CC45D6C}" presName="parent1" presStyleLbl="alignNode1" presStyleIdx="8" presStyleCnt="9">
        <dgm:presLayoutVars>
          <dgm:chMax val="1"/>
          <dgm:chPref val="1"/>
          <dgm:bulletEnabled val="1"/>
        </dgm:presLayoutVars>
      </dgm:prSet>
      <dgm:spPr/>
    </dgm:pt>
    <dgm:pt modelId="{12B3EE98-8EA9-477D-94FC-AC58F05F5524}" type="pres">
      <dgm:prSet presAssocID="{AEC5F47F-638D-4F1A-A12F-ACAC6CC45D6C}" presName="Childtext1" presStyleLbl="revTx" presStyleIdx="8" presStyleCnt="9">
        <dgm:presLayoutVars>
          <dgm:bulletEnabled val="1"/>
        </dgm:presLayoutVars>
      </dgm:prSet>
      <dgm:spPr/>
    </dgm:pt>
    <dgm:pt modelId="{89CC0DF3-1F74-4B31-A04D-4075AB915F19}" type="pres">
      <dgm:prSet presAssocID="{AEC5F47F-638D-4F1A-A12F-ACAC6CC45D6C}" presName="ConnectLine1" presStyleLbl="sibTrans1D1" presStyleIdx="8" presStyleCnt="9"/>
      <dgm:spPr>
        <a:noFill/>
        <a:ln w="6350" cap="flat" cmpd="sng" algn="ctr">
          <a:solidFill>
            <a:srgbClr val="00B050"/>
          </a:solidFill>
          <a:prstDash val="dash"/>
          <a:miter lim="800000"/>
        </a:ln>
        <a:effectLst/>
      </dgm:spPr>
    </dgm:pt>
    <dgm:pt modelId="{84C9B3F7-DF05-4119-B805-6C432BEE03A2}" type="pres">
      <dgm:prSet presAssocID="{AEC5F47F-638D-4F1A-A12F-ACAC6CC45D6C}" presName="ConnectLineEnd1" presStyleLbl="lnNode1" presStyleIdx="8" presStyleCnt="9"/>
      <dgm:spPr>
        <a:solidFill>
          <a:srgbClr val="00B050"/>
        </a:solidFill>
        <a:ln>
          <a:solidFill>
            <a:srgbClr val="00B050"/>
          </a:solidFill>
        </a:ln>
      </dgm:spPr>
    </dgm:pt>
    <dgm:pt modelId="{A1260AED-7704-4BED-AE2B-9CE9E2C353E1}" type="pres">
      <dgm:prSet presAssocID="{AEC5F47F-638D-4F1A-A12F-ACAC6CC45D6C}" presName="EmptyPane1" presStyleCnt="0"/>
      <dgm:spPr/>
    </dgm:pt>
  </dgm:ptLst>
  <dgm:cxnLst>
    <dgm:cxn modelId="{EA607902-9BF8-46FF-AAA2-05968A519330}" srcId="{1933674C-4290-42B7-AF47-6EE61E1C3C28}" destId="{501F7932-FC98-41F8-A403-0E1BF3B99541}" srcOrd="3" destOrd="0" parTransId="{7365D153-497B-49C4-BB32-CAA611F9CA43}" sibTransId="{23A4C872-C752-4CBB-B820-62B4332BF915}"/>
    <dgm:cxn modelId="{4C3A8007-72BC-4708-BCF2-BBDEE0C6F2FE}" srcId="{EBF958DC-45D1-43FA-ABB8-1B6A4090878F}" destId="{B79AA00B-786D-4FC7-A28F-4526FEAEE60E}" srcOrd="0" destOrd="0" parTransId="{3223005F-434F-4025-B744-1090B2BB222D}" sibTransId="{8457B18D-E505-4EB1-B848-317953D6AD9D}"/>
    <dgm:cxn modelId="{5D2EB90D-0059-46DC-8000-E9A3038A55BD}" srcId="{1933674C-4290-42B7-AF47-6EE61E1C3C28}" destId="{0A6B3A7F-D990-4374-92A8-3085422F9BBF}" srcOrd="7" destOrd="0" parTransId="{F4241D84-C1A8-415A-9B97-6953BFBEBE44}" sibTransId="{FE791B7C-5C81-47E0-A35E-FA36AB967D9E}"/>
    <dgm:cxn modelId="{8270740E-7C3A-4CDF-A7EA-9CB3D815369F}" srcId="{1933674C-4290-42B7-AF47-6EE61E1C3C28}" destId="{EBF958DC-45D1-43FA-ABB8-1B6A4090878F}" srcOrd="5" destOrd="0" parTransId="{9712E9A8-3339-4D76-97C6-60301B9584D8}" sibTransId="{ED0076A6-2648-48C2-AA38-D2680A2AC8D8}"/>
    <dgm:cxn modelId="{61E06115-CB46-471D-8AEC-E3C527F7F45E}" type="presOf" srcId="{DF6C0C9C-440A-4BE0-A1D4-BDBBA2121361}" destId="{DE7E5952-8F38-4C15-BBC0-A95779E9EF38}" srcOrd="0" destOrd="0" presId="urn:microsoft.com/office/officeart/2016/7/layout/RoundedRectangleTimeline"/>
    <dgm:cxn modelId="{5F2F8725-58FA-4BD1-80A5-A7675C22875B}" srcId="{1933674C-4290-42B7-AF47-6EE61E1C3C28}" destId="{A336B9F0-4628-42CC-8778-7C238F760089}" srcOrd="4" destOrd="0" parTransId="{6362C794-5B89-4CFA-AB8E-FBA3F222C00F}" sibTransId="{4B2572B2-EEEC-4C64-A550-F3D53437A0A1}"/>
    <dgm:cxn modelId="{1AED472A-22B3-459A-BF1F-C4361CC1C0D6}" type="presOf" srcId="{32937003-63D0-4FDC-9666-4B319A3B4D99}" destId="{19B304C7-80EC-40B9-92A7-EE53243978E3}" srcOrd="0" destOrd="0" presId="urn:microsoft.com/office/officeart/2016/7/layout/RoundedRectangleTimeline"/>
    <dgm:cxn modelId="{C611D62C-3B2D-45C3-A005-27A0E79C96D6}" srcId="{1933674C-4290-42B7-AF47-6EE61E1C3C28}" destId="{AEC5F47F-638D-4F1A-A12F-ACAC6CC45D6C}" srcOrd="8" destOrd="0" parTransId="{4261E339-ED49-4B31-ABAB-E81A9A100A1E}" sibTransId="{FC005279-E39B-42FD-AB00-06BB06754698}"/>
    <dgm:cxn modelId="{12B8DB2C-AB79-409D-AD94-D7D8E43E4475}" srcId="{32937003-63D0-4FDC-9666-4B319A3B4D99}" destId="{BA21C4A7-E6BA-4EFE-8BD0-32F124BDDDBD}" srcOrd="0" destOrd="0" parTransId="{A958AE09-ACE6-4796-A101-3DF379BA7FA9}" sibTransId="{4F01E7F4-2C52-4DED-9A8C-C79A192A618C}"/>
    <dgm:cxn modelId="{A8A6A030-BF59-43CC-8669-579711441C3C}" type="presOf" srcId="{6B06414B-420D-4712-9CE8-3D5FBCA2C995}" destId="{B240B086-CBA3-4C72-84AC-C1AC4E24786A}" srcOrd="0" destOrd="0" presId="urn:microsoft.com/office/officeart/2016/7/layout/RoundedRectangleTimeline"/>
    <dgm:cxn modelId="{803AA432-DE7E-4A42-A264-D4571A15F10E}" type="presOf" srcId="{97D12A91-DFC2-4B57-818E-2D8A1D21340A}" destId="{52ED8438-FA17-459A-A442-A91BA1199954}" srcOrd="0" destOrd="0" presId="urn:microsoft.com/office/officeart/2016/7/layout/RoundedRectangleTimeline"/>
    <dgm:cxn modelId="{F8DFAC5C-63B2-489D-8F06-ED9D379AC6E8}" type="presOf" srcId="{BA21C4A7-E6BA-4EFE-8BD0-32F124BDDDBD}" destId="{37DBEC9D-597E-4952-82EA-61209C019F08}" srcOrd="0" destOrd="0" presId="urn:microsoft.com/office/officeart/2016/7/layout/RoundedRectangleTimeline"/>
    <dgm:cxn modelId="{0EBE815F-D6F5-4BE3-A657-D69FE2BCCABD}" srcId="{1933674C-4290-42B7-AF47-6EE61E1C3C28}" destId="{3F7A9B2D-A9D1-4AD3-95BC-056D64B1A9BA}" srcOrd="6" destOrd="0" parTransId="{2318A579-14C4-4E3A-B398-29BD9B706537}" sibTransId="{AD5FE1A1-8009-46F4-933C-69B3995A1C1D}"/>
    <dgm:cxn modelId="{8951F845-DBAC-4858-9785-95047851C6EB}" type="presOf" srcId="{0A6B3A7F-D990-4374-92A8-3085422F9BBF}" destId="{683B96C1-17D5-429D-B75D-F558A960CE0C}" srcOrd="0" destOrd="0" presId="urn:microsoft.com/office/officeart/2016/7/layout/RoundedRectangleTimeline"/>
    <dgm:cxn modelId="{F0B39549-8619-44D3-AEE3-12D350EB0466}" type="presOf" srcId="{501F7932-FC98-41F8-A403-0E1BF3B99541}" destId="{993BF293-EAD5-4DFC-8662-4CFDF4A0D5F3}" srcOrd="0" destOrd="0" presId="urn:microsoft.com/office/officeart/2016/7/layout/RoundedRectangleTimeline"/>
    <dgm:cxn modelId="{2151ED4A-379D-4A94-8242-A6428EC23F84}" srcId="{1933674C-4290-42B7-AF47-6EE61E1C3C28}" destId="{CE8FFBC8-E2BA-47DA-9E56-BC017E100402}" srcOrd="1" destOrd="0" parTransId="{ED72FA2A-DDBD-4B15-B7C1-ED29DD27BE6C}" sibTransId="{E5DD65D9-4D81-4A76-B0AC-C96CA8632279}"/>
    <dgm:cxn modelId="{93D5AE4C-A171-4DEF-BDE9-820F3A4BC4AD}" type="presOf" srcId="{EB65F050-0746-49E3-9843-A6F45049196C}" destId="{ACC77FD0-3BD4-4641-AF46-F6078067D98A}" srcOrd="0" destOrd="0" presId="urn:microsoft.com/office/officeart/2016/7/layout/RoundedRectangleTimeline"/>
    <dgm:cxn modelId="{1323BA57-CCEE-4199-93E3-7D548800DBD2}" type="presOf" srcId="{EA1395A7-BABE-4F03-AD5D-2266326D3D03}" destId="{B0FBAA9D-3C98-4312-ABD5-AAC590CA1F4B}" srcOrd="0" destOrd="0" presId="urn:microsoft.com/office/officeart/2016/7/layout/RoundedRectangleTimeline"/>
    <dgm:cxn modelId="{1064DC57-9512-47E8-AA38-46AE6C2A3E6C}" srcId="{0A6B3A7F-D990-4374-92A8-3085422F9BBF}" destId="{DF6C0C9C-440A-4BE0-A1D4-BDBBA2121361}" srcOrd="0" destOrd="0" parTransId="{2856E338-3A34-49BC-8BFD-FC5BCD4EDE9B}" sibTransId="{688EFA42-9586-43DB-BABE-9A7E5E2FCB69}"/>
    <dgm:cxn modelId="{B556737F-43F8-4E33-94D3-9A1BEF1F3918}" type="presOf" srcId="{3F7A9B2D-A9D1-4AD3-95BC-056D64B1A9BA}" destId="{B29DDCB8-A7CE-4ABC-A765-5150F894F2C7}" srcOrd="0" destOrd="0" presId="urn:microsoft.com/office/officeart/2016/7/layout/RoundedRectangleTimeline"/>
    <dgm:cxn modelId="{73FCB680-7F3C-4AAA-B799-4BD1D7DA69EA}" srcId="{EA1395A7-BABE-4F03-AD5D-2266326D3D03}" destId="{DB3C4AAD-02E1-403E-95FA-48F65A183B48}" srcOrd="0" destOrd="0" parTransId="{4B5FE38C-4D15-41E9-8BE5-0F6716FBCD39}" sibTransId="{D7623F5D-B2F1-406B-BBB8-E7B25CFED5A3}"/>
    <dgm:cxn modelId="{E8305E88-E65E-4CA4-9FAE-90B55E756116}" type="presOf" srcId="{45D294F7-8786-48D3-9B1C-D35D8773E3D9}" destId="{12B3EE98-8EA9-477D-94FC-AC58F05F5524}" srcOrd="0" destOrd="0" presId="urn:microsoft.com/office/officeart/2016/7/layout/RoundedRectangleTimeline"/>
    <dgm:cxn modelId="{2308BC8D-CF20-4869-81B7-079290F8ECA1}" type="presOf" srcId="{CE8FFBC8-E2BA-47DA-9E56-BC017E100402}" destId="{CA993503-35AA-4DE5-9382-1AE376E2B913}" srcOrd="0" destOrd="0" presId="urn:microsoft.com/office/officeart/2016/7/layout/RoundedRectangleTimeline"/>
    <dgm:cxn modelId="{7D1F6090-CEB5-46F5-B867-92595F0C0FD5}" srcId="{501F7932-FC98-41F8-A403-0E1BF3B99541}" destId="{7D3675B4-3075-46CC-AB37-C0CE38589862}" srcOrd="0" destOrd="0" parTransId="{682E30EA-7044-46DF-A1E1-7B007EE52EFE}" sibTransId="{B71A92AC-EDD9-42DA-B336-12AA86C03EFE}"/>
    <dgm:cxn modelId="{64E67690-7551-467A-B97D-9045B30A9B8B}" srcId="{AEC5F47F-638D-4F1A-A12F-ACAC6CC45D6C}" destId="{45D294F7-8786-48D3-9B1C-D35D8773E3D9}" srcOrd="0" destOrd="0" parTransId="{2BFF1500-0DDA-46AB-8175-942296D6EEFA}" sibTransId="{C161F37E-DE6C-4911-BF1A-EC33FB6D5529}"/>
    <dgm:cxn modelId="{B303B390-890B-42A3-9BB0-9488928A706D}" type="presOf" srcId="{AEC5F47F-638D-4F1A-A12F-ACAC6CC45D6C}" destId="{5EE58C29-08CA-4BD6-8750-F9DF2B5218E3}" srcOrd="0" destOrd="0" presId="urn:microsoft.com/office/officeart/2016/7/layout/RoundedRectangleTimeline"/>
    <dgm:cxn modelId="{D2C10991-31AD-4AD8-886C-7106F963A72C}" srcId="{3F7A9B2D-A9D1-4AD3-95BC-056D64B1A9BA}" destId="{97D12A91-DFC2-4B57-818E-2D8A1D21340A}" srcOrd="0" destOrd="0" parTransId="{9C8787AB-050B-468F-B201-7DB3835F9DE0}" sibTransId="{CE20BF21-5E6D-4A06-91D9-5903A9E72408}"/>
    <dgm:cxn modelId="{936B289A-8359-4154-8F1F-EC4CD43910D4}" type="presOf" srcId="{7D3675B4-3075-46CC-AB37-C0CE38589862}" destId="{C852B168-8BB4-484E-8B45-E818EB563ACD}" srcOrd="0" destOrd="0" presId="urn:microsoft.com/office/officeart/2016/7/layout/RoundedRectangleTimeline"/>
    <dgm:cxn modelId="{EF4F1FA0-B4AA-4FD5-9A1B-26402AA8AF23}" type="presOf" srcId="{EBF958DC-45D1-43FA-ABB8-1B6A4090878F}" destId="{DDEE2088-9C66-48A1-BA1E-3D701A3ECC0B}" srcOrd="0" destOrd="0" presId="urn:microsoft.com/office/officeart/2016/7/layout/RoundedRectangleTimeline"/>
    <dgm:cxn modelId="{F246A4A4-3DAF-4039-B613-5C95166A6E7D}" type="presOf" srcId="{A336B9F0-4628-42CC-8778-7C238F760089}" destId="{9174D865-B074-4541-8434-6DAB84D74850}" srcOrd="0" destOrd="0" presId="urn:microsoft.com/office/officeart/2016/7/layout/RoundedRectangleTimeline"/>
    <dgm:cxn modelId="{87A9F9AE-D585-4F2D-95F6-3362758BAC21}" type="presOf" srcId="{1933674C-4290-42B7-AF47-6EE61E1C3C28}" destId="{582E6E34-7EF7-4E8E-8DC8-4DD5129E11B3}" srcOrd="0" destOrd="0" presId="urn:microsoft.com/office/officeart/2016/7/layout/RoundedRectangleTimeline"/>
    <dgm:cxn modelId="{EABD0CB6-D244-41EB-88D0-0A833939D4EC}" srcId="{CE8FFBC8-E2BA-47DA-9E56-BC017E100402}" destId="{EB65F050-0746-49E3-9843-A6F45049196C}" srcOrd="0" destOrd="0" parTransId="{755BA2A8-D0AB-46C9-B8CF-ADFE64C9E888}" sibTransId="{CB64B9BA-97CD-49C5-B540-E83A1B367D8E}"/>
    <dgm:cxn modelId="{C0B564C0-7625-4991-B453-16CD7D914321}" type="presOf" srcId="{B79AA00B-786D-4FC7-A28F-4526FEAEE60E}" destId="{B660B7E2-A753-4C49-8170-860DE8831991}" srcOrd="0" destOrd="0" presId="urn:microsoft.com/office/officeart/2016/7/layout/RoundedRectangleTimeline"/>
    <dgm:cxn modelId="{03292CC5-215D-4FBC-B827-695EFB4B9954}" srcId="{1933674C-4290-42B7-AF47-6EE61E1C3C28}" destId="{32937003-63D0-4FDC-9666-4B319A3B4D99}" srcOrd="2" destOrd="0" parTransId="{E4BC9C80-2619-4B37-98D9-B853F2A9F1C5}" sibTransId="{B91B7E21-CF4D-4D85-824E-CFC64C024D9B}"/>
    <dgm:cxn modelId="{5ABFC0E1-D710-4637-9EB2-BB07602D92F7}" srcId="{A336B9F0-4628-42CC-8778-7C238F760089}" destId="{6B06414B-420D-4712-9CE8-3D5FBCA2C995}" srcOrd="0" destOrd="0" parTransId="{DE621301-F923-45AC-ADDF-074E0E63E201}" sibTransId="{192804D4-C6DD-4C5A-B317-1077756EFC4D}"/>
    <dgm:cxn modelId="{0B6217EC-19BF-47AB-AA8C-BF268080F830}" srcId="{1933674C-4290-42B7-AF47-6EE61E1C3C28}" destId="{EA1395A7-BABE-4F03-AD5D-2266326D3D03}" srcOrd="0" destOrd="0" parTransId="{399B732E-66B7-4B5D-A1C6-951D63ADD3BB}" sibTransId="{8AFBAEDD-7C30-477A-B532-229E595C8384}"/>
    <dgm:cxn modelId="{AFDDF5ED-3D68-4035-BBA9-97BE25A40E77}" type="presOf" srcId="{DB3C4AAD-02E1-403E-95FA-48F65A183B48}" destId="{9D875279-7F85-451B-AA08-DCB5C149A1E7}" srcOrd="0" destOrd="0" presId="urn:microsoft.com/office/officeart/2016/7/layout/RoundedRectangleTimeline"/>
    <dgm:cxn modelId="{1AA98666-33CE-4B56-9F9F-9C7E04AB3924}" type="presParOf" srcId="{582E6E34-7EF7-4E8E-8DC8-4DD5129E11B3}" destId="{B8FBED92-F528-4356-A34A-87F36E936788}" srcOrd="0" destOrd="0" presId="urn:microsoft.com/office/officeart/2016/7/layout/RoundedRectangleTimeline"/>
    <dgm:cxn modelId="{D1C9A562-68B4-4B14-9386-727C9FAAFA43}" type="presParOf" srcId="{B8FBED92-F528-4356-A34A-87F36E936788}" destId="{B0FBAA9D-3C98-4312-ABD5-AAC590CA1F4B}" srcOrd="0" destOrd="0" presId="urn:microsoft.com/office/officeart/2016/7/layout/RoundedRectangleTimeline"/>
    <dgm:cxn modelId="{A94D5F32-EF27-413A-A668-7D96CBF777EA}" type="presParOf" srcId="{B8FBED92-F528-4356-A34A-87F36E936788}" destId="{9D875279-7F85-451B-AA08-DCB5C149A1E7}" srcOrd="1" destOrd="0" presId="urn:microsoft.com/office/officeart/2016/7/layout/RoundedRectangleTimeline"/>
    <dgm:cxn modelId="{A125EBAD-7DF0-46B0-BA30-799C5A95E4B4}" type="presParOf" srcId="{B8FBED92-F528-4356-A34A-87F36E936788}" destId="{4A3D8B02-1214-46CE-8A43-CE419735DC67}" srcOrd="2" destOrd="0" presId="urn:microsoft.com/office/officeart/2016/7/layout/RoundedRectangleTimeline"/>
    <dgm:cxn modelId="{0191F412-6BB9-4589-860A-D75B7CB59E1F}" type="presParOf" srcId="{B8FBED92-F528-4356-A34A-87F36E936788}" destId="{2C15677D-C56F-46EC-92F5-8582B34D741B}" srcOrd="3" destOrd="0" presId="urn:microsoft.com/office/officeart/2016/7/layout/RoundedRectangleTimeline"/>
    <dgm:cxn modelId="{A286196A-7E58-4E0B-9AC1-FCBF46114865}" type="presParOf" srcId="{B8FBED92-F528-4356-A34A-87F36E936788}" destId="{9374628A-9096-4DE9-BB86-A1F6F3582EB5}" srcOrd="4" destOrd="0" presId="urn:microsoft.com/office/officeart/2016/7/layout/RoundedRectangleTimeline"/>
    <dgm:cxn modelId="{4308575D-93C3-4C55-AE69-8F7199484442}" type="presParOf" srcId="{582E6E34-7EF7-4E8E-8DC8-4DD5129E11B3}" destId="{84E7C9CA-F6AA-46DF-9FA1-C3D3B8BC96BF}" srcOrd="1" destOrd="0" presId="urn:microsoft.com/office/officeart/2016/7/layout/RoundedRectangleTimeline"/>
    <dgm:cxn modelId="{3E8082F0-54C9-46D0-8D70-63BE057CC45E}" type="presParOf" srcId="{582E6E34-7EF7-4E8E-8DC8-4DD5129E11B3}" destId="{B6601F5E-6E50-4D53-B6F8-A4C229DDDE65}" srcOrd="2" destOrd="0" presId="urn:microsoft.com/office/officeart/2016/7/layout/RoundedRectangleTimeline"/>
    <dgm:cxn modelId="{B2DDF5CB-5AA2-4B12-9FD2-87D11011AF53}" type="presParOf" srcId="{B6601F5E-6E50-4D53-B6F8-A4C229DDDE65}" destId="{CA993503-35AA-4DE5-9382-1AE376E2B913}" srcOrd="0" destOrd="0" presId="urn:microsoft.com/office/officeart/2016/7/layout/RoundedRectangleTimeline"/>
    <dgm:cxn modelId="{B7848A28-FF09-418F-A5DE-999118E8C8E0}" type="presParOf" srcId="{B6601F5E-6E50-4D53-B6F8-A4C229DDDE65}" destId="{ACC77FD0-3BD4-4641-AF46-F6078067D98A}" srcOrd="1" destOrd="0" presId="urn:microsoft.com/office/officeart/2016/7/layout/RoundedRectangleTimeline"/>
    <dgm:cxn modelId="{96904BCF-E62D-4A66-8701-1C40710481D5}" type="presParOf" srcId="{B6601F5E-6E50-4D53-B6F8-A4C229DDDE65}" destId="{E1B6C157-3DC8-4DC1-B2D6-0DA5F839CE5B}" srcOrd="2" destOrd="0" presId="urn:microsoft.com/office/officeart/2016/7/layout/RoundedRectangleTimeline"/>
    <dgm:cxn modelId="{CA344F8E-0DCC-4373-ABC1-BD85662C397B}" type="presParOf" srcId="{B6601F5E-6E50-4D53-B6F8-A4C229DDDE65}" destId="{4D28EF5E-2DC7-483D-814A-922388E608E1}" srcOrd="3" destOrd="0" presId="urn:microsoft.com/office/officeart/2016/7/layout/RoundedRectangleTimeline"/>
    <dgm:cxn modelId="{0301A1C4-8BA6-4EDD-9E5D-3312BB2C7659}" type="presParOf" srcId="{B6601F5E-6E50-4D53-B6F8-A4C229DDDE65}" destId="{42930C36-AAA2-4419-A3AD-9E546C999762}" srcOrd="4" destOrd="0" presId="urn:microsoft.com/office/officeart/2016/7/layout/RoundedRectangleTimeline"/>
    <dgm:cxn modelId="{3860DB06-7216-4698-A72D-AE52CC510CE7}" type="presParOf" srcId="{582E6E34-7EF7-4E8E-8DC8-4DD5129E11B3}" destId="{B8F227CD-8022-433C-AD56-963C3E06F0C4}" srcOrd="3" destOrd="0" presId="urn:microsoft.com/office/officeart/2016/7/layout/RoundedRectangleTimeline"/>
    <dgm:cxn modelId="{AA3189C9-914A-4D2D-9A34-FF3A26AE236A}" type="presParOf" srcId="{582E6E34-7EF7-4E8E-8DC8-4DD5129E11B3}" destId="{21BE2410-2557-4311-ABED-4458E88B4538}" srcOrd="4" destOrd="0" presId="urn:microsoft.com/office/officeart/2016/7/layout/RoundedRectangleTimeline"/>
    <dgm:cxn modelId="{5192E39E-2364-4589-9417-E69F023BEF71}" type="presParOf" srcId="{21BE2410-2557-4311-ABED-4458E88B4538}" destId="{19B304C7-80EC-40B9-92A7-EE53243978E3}" srcOrd="0" destOrd="0" presId="urn:microsoft.com/office/officeart/2016/7/layout/RoundedRectangleTimeline"/>
    <dgm:cxn modelId="{D3E6277F-FB69-4B08-B655-5BAE2ED8E85C}" type="presParOf" srcId="{21BE2410-2557-4311-ABED-4458E88B4538}" destId="{37DBEC9D-597E-4952-82EA-61209C019F08}" srcOrd="1" destOrd="0" presId="urn:microsoft.com/office/officeart/2016/7/layout/RoundedRectangleTimeline"/>
    <dgm:cxn modelId="{2ED834CB-7F67-4442-9CD8-D6F27AA3B339}" type="presParOf" srcId="{21BE2410-2557-4311-ABED-4458E88B4538}" destId="{136FD358-C3D4-4C41-8E55-CF28497117C0}" srcOrd="2" destOrd="0" presId="urn:microsoft.com/office/officeart/2016/7/layout/RoundedRectangleTimeline"/>
    <dgm:cxn modelId="{34EA23F7-4398-4072-928B-B415B36B12F9}" type="presParOf" srcId="{21BE2410-2557-4311-ABED-4458E88B4538}" destId="{961F41ED-A44D-43E9-B176-1927CE1B7AAC}" srcOrd="3" destOrd="0" presId="urn:microsoft.com/office/officeart/2016/7/layout/RoundedRectangleTimeline"/>
    <dgm:cxn modelId="{AC2D2974-D5B5-46F5-B248-9E58EABDE594}" type="presParOf" srcId="{21BE2410-2557-4311-ABED-4458E88B4538}" destId="{E84627D0-8B12-49E5-AF85-2A89071E0157}" srcOrd="4" destOrd="0" presId="urn:microsoft.com/office/officeart/2016/7/layout/RoundedRectangleTimeline"/>
    <dgm:cxn modelId="{1D9131F3-8535-48AF-AF13-4F23B0F5EB97}" type="presParOf" srcId="{582E6E34-7EF7-4E8E-8DC8-4DD5129E11B3}" destId="{583FF185-FE9C-4FEF-8747-635280881B61}" srcOrd="5" destOrd="0" presId="urn:microsoft.com/office/officeart/2016/7/layout/RoundedRectangleTimeline"/>
    <dgm:cxn modelId="{F3432BDA-F3DF-4C43-824A-9F137A0B075A}" type="presParOf" srcId="{582E6E34-7EF7-4E8E-8DC8-4DD5129E11B3}" destId="{815B94F3-CB8A-44FC-AA02-A27B7DB616F7}" srcOrd="6" destOrd="0" presId="urn:microsoft.com/office/officeart/2016/7/layout/RoundedRectangleTimeline"/>
    <dgm:cxn modelId="{E8829FBC-C130-453B-8FB9-738A44805DE0}" type="presParOf" srcId="{815B94F3-CB8A-44FC-AA02-A27B7DB616F7}" destId="{993BF293-EAD5-4DFC-8662-4CFDF4A0D5F3}" srcOrd="0" destOrd="0" presId="urn:microsoft.com/office/officeart/2016/7/layout/RoundedRectangleTimeline"/>
    <dgm:cxn modelId="{8F00A983-62F6-477D-8D0A-724989AED172}" type="presParOf" srcId="{815B94F3-CB8A-44FC-AA02-A27B7DB616F7}" destId="{C852B168-8BB4-484E-8B45-E818EB563ACD}" srcOrd="1" destOrd="0" presId="urn:microsoft.com/office/officeart/2016/7/layout/RoundedRectangleTimeline"/>
    <dgm:cxn modelId="{0E9CC94D-622E-4363-9DC1-8959E78C750F}" type="presParOf" srcId="{815B94F3-CB8A-44FC-AA02-A27B7DB616F7}" destId="{1EE77A18-3D62-421E-872D-1F0DC1BFCC4F}" srcOrd="2" destOrd="0" presId="urn:microsoft.com/office/officeart/2016/7/layout/RoundedRectangleTimeline"/>
    <dgm:cxn modelId="{08F3E4E1-6A4F-468F-82E6-5BBECC474FEB}" type="presParOf" srcId="{815B94F3-CB8A-44FC-AA02-A27B7DB616F7}" destId="{D9DA2A49-8D17-4824-86BD-98B72C3CF269}" srcOrd="3" destOrd="0" presId="urn:microsoft.com/office/officeart/2016/7/layout/RoundedRectangleTimeline"/>
    <dgm:cxn modelId="{DA53BFAB-2174-49FD-BCE4-861D82155C88}" type="presParOf" srcId="{815B94F3-CB8A-44FC-AA02-A27B7DB616F7}" destId="{0E6B972F-4FE5-4947-AF45-2CBEB2C2922F}" srcOrd="4" destOrd="0" presId="urn:microsoft.com/office/officeart/2016/7/layout/RoundedRectangleTimeline"/>
    <dgm:cxn modelId="{A6283F9A-ECB4-4D17-AF4D-80165977BF26}" type="presParOf" srcId="{582E6E34-7EF7-4E8E-8DC8-4DD5129E11B3}" destId="{4169DDFA-34B0-4091-950E-140D665B6360}" srcOrd="7" destOrd="0" presId="urn:microsoft.com/office/officeart/2016/7/layout/RoundedRectangleTimeline"/>
    <dgm:cxn modelId="{A97DACBF-1DB0-4033-A0F9-49A3757C0011}" type="presParOf" srcId="{582E6E34-7EF7-4E8E-8DC8-4DD5129E11B3}" destId="{4A4F7C4D-C127-46B7-9D78-DC31D4D01D0D}" srcOrd="8" destOrd="0" presId="urn:microsoft.com/office/officeart/2016/7/layout/RoundedRectangleTimeline"/>
    <dgm:cxn modelId="{567BC958-C2B0-4255-A8D6-C9B9A24BB7EC}" type="presParOf" srcId="{4A4F7C4D-C127-46B7-9D78-DC31D4D01D0D}" destId="{9174D865-B074-4541-8434-6DAB84D74850}" srcOrd="0" destOrd="0" presId="urn:microsoft.com/office/officeart/2016/7/layout/RoundedRectangleTimeline"/>
    <dgm:cxn modelId="{314390AD-1DFC-43C3-B6C6-8D381EB200CC}" type="presParOf" srcId="{4A4F7C4D-C127-46B7-9D78-DC31D4D01D0D}" destId="{B240B086-CBA3-4C72-84AC-C1AC4E24786A}" srcOrd="1" destOrd="0" presId="urn:microsoft.com/office/officeart/2016/7/layout/RoundedRectangleTimeline"/>
    <dgm:cxn modelId="{DB1158A6-156F-4F4A-BF67-68833E8079DA}" type="presParOf" srcId="{4A4F7C4D-C127-46B7-9D78-DC31D4D01D0D}" destId="{40D6440E-8C75-4CE0-B68D-0D7D338B208A}" srcOrd="2" destOrd="0" presId="urn:microsoft.com/office/officeart/2016/7/layout/RoundedRectangleTimeline"/>
    <dgm:cxn modelId="{BBE15234-4756-4152-B45C-F781907C3205}" type="presParOf" srcId="{4A4F7C4D-C127-46B7-9D78-DC31D4D01D0D}" destId="{B902014F-A5AF-4EB9-B0BA-2DB93905E7B6}" srcOrd="3" destOrd="0" presId="urn:microsoft.com/office/officeart/2016/7/layout/RoundedRectangleTimeline"/>
    <dgm:cxn modelId="{FD98D015-9502-4F10-943E-46D7661686F8}" type="presParOf" srcId="{4A4F7C4D-C127-46B7-9D78-DC31D4D01D0D}" destId="{262CC101-A504-4817-9333-2D26AEEFE7FB}" srcOrd="4" destOrd="0" presId="urn:microsoft.com/office/officeart/2016/7/layout/RoundedRectangleTimeline"/>
    <dgm:cxn modelId="{85FF1ADB-A1CE-475E-822D-4BDF8B0B9595}" type="presParOf" srcId="{582E6E34-7EF7-4E8E-8DC8-4DD5129E11B3}" destId="{7D386461-054B-4286-AB75-7A64CAA0C632}" srcOrd="9" destOrd="0" presId="urn:microsoft.com/office/officeart/2016/7/layout/RoundedRectangleTimeline"/>
    <dgm:cxn modelId="{B084692A-BA76-4C97-8310-562C94E10211}" type="presParOf" srcId="{582E6E34-7EF7-4E8E-8DC8-4DD5129E11B3}" destId="{7F0CADF0-3892-40FF-9D2A-3B65DF2DBC6E}" srcOrd="10" destOrd="0" presId="urn:microsoft.com/office/officeart/2016/7/layout/RoundedRectangleTimeline"/>
    <dgm:cxn modelId="{5A5851AD-3FBF-433D-8AB1-47A6344B61DD}" type="presParOf" srcId="{7F0CADF0-3892-40FF-9D2A-3B65DF2DBC6E}" destId="{DDEE2088-9C66-48A1-BA1E-3D701A3ECC0B}" srcOrd="0" destOrd="0" presId="urn:microsoft.com/office/officeart/2016/7/layout/RoundedRectangleTimeline"/>
    <dgm:cxn modelId="{6AB1BCC3-F3FF-4294-AD23-F24C51BCCA5B}" type="presParOf" srcId="{7F0CADF0-3892-40FF-9D2A-3B65DF2DBC6E}" destId="{B660B7E2-A753-4C49-8170-860DE8831991}" srcOrd="1" destOrd="0" presId="urn:microsoft.com/office/officeart/2016/7/layout/RoundedRectangleTimeline"/>
    <dgm:cxn modelId="{68A3482E-948A-4091-934C-0B93F12B3F54}" type="presParOf" srcId="{7F0CADF0-3892-40FF-9D2A-3B65DF2DBC6E}" destId="{85CECBD0-93CC-42AE-8F6F-ECC2ED561C5A}" srcOrd="2" destOrd="0" presId="urn:microsoft.com/office/officeart/2016/7/layout/RoundedRectangleTimeline"/>
    <dgm:cxn modelId="{4DF35B13-5A1F-4F8C-89D8-71804E58F74E}" type="presParOf" srcId="{7F0CADF0-3892-40FF-9D2A-3B65DF2DBC6E}" destId="{2785E163-1756-42E5-8694-20F106FC4464}" srcOrd="3" destOrd="0" presId="urn:microsoft.com/office/officeart/2016/7/layout/RoundedRectangleTimeline"/>
    <dgm:cxn modelId="{04CE3294-C77D-4BDA-BF7F-0D928CD8558E}" type="presParOf" srcId="{7F0CADF0-3892-40FF-9D2A-3B65DF2DBC6E}" destId="{B45A278E-AEF7-4742-B1A7-8372F4A1E90A}" srcOrd="4" destOrd="0" presId="urn:microsoft.com/office/officeart/2016/7/layout/RoundedRectangleTimeline"/>
    <dgm:cxn modelId="{20D228A9-E34D-4C52-9C2E-002E6429060B}" type="presParOf" srcId="{582E6E34-7EF7-4E8E-8DC8-4DD5129E11B3}" destId="{76EBBE79-F1A6-451B-93B8-1FD5832E5E29}" srcOrd="11" destOrd="0" presId="urn:microsoft.com/office/officeart/2016/7/layout/RoundedRectangleTimeline"/>
    <dgm:cxn modelId="{E30B0275-0949-4C5B-AD45-914A5F9ACB08}" type="presParOf" srcId="{582E6E34-7EF7-4E8E-8DC8-4DD5129E11B3}" destId="{DCA48090-C4C7-4736-BDE0-C25D3FF0EE70}" srcOrd="12" destOrd="0" presId="urn:microsoft.com/office/officeart/2016/7/layout/RoundedRectangleTimeline"/>
    <dgm:cxn modelId="{3E77D01E-0E6E-4DCD-BB8D-E67160753941}" type="presParOf" srcId="{DCA48090-C4C7-4736-BDE0-C25D3FF0EE70}" destId="{B29DDCB8-A7CE-4ABC-A765-5150F894F2C7}" srcOrd="0" destOrd="0" presId="urn:microsoft.com/office/officeart/2016/7/layout/RoundedRectangleTimeline"/>
    <dgm:cxn modelId="{668D9369-72D3-434D-A400-771A09FD95BC}" type="presParOf" srcId="{DCA48090-C4C7-4736-BDE0-C25D3FF0EE70}" destId="{52ED8438-FA17-459A-A442-A91BA1199954}" srcOrd="1" destOrd="0" presId="urn:microsoft.com/office/officeart/2016/7/layout/RoundedRectangleTimeline"/>
    <dgm:cxn modelId="{9D4188AF-DF5A-4810-970D-5C3C674BE3DA}" type="presParOf" srcId="{DCA48090-C4C7-4736-BDE0-C25D3FF0EE70}" destId="{A46217C5-00DB-444E-B512-719594E522DA}" srcOrd="2" destOrd="0" presId="urn:microsoft.com/office/officeart/2016/7/layout/RoundedRectangleTimeline"/>
    <dgm:cxn modelId="{D8F8C01C-C1C7-4690-8DC3-B99275E30729}" type="presParOf" srcId="{DCA48090-C4C7-4736-BDE0-C25D3FF0EE70}" destId="{44CFEE9C-A5F8-4D60-828D-5EE23D37A2AF}" srcOrd="3" destOrd="0" presId="urn:microsoft.com/office/officeart/2016/7/layout/RoundedRectangleTimeline"/>
    <dgm:cxn modelId="{1DC1C081-019F-4653-AA0F-6998B0405CD0}" type="presParOf" srcId="{DCA48090-C4C7-4736-BDE0-C25D3FF0EE70}" destId="{9FBEA5F3-E30F-4694-A273-A0D892D8227E}" srcOrd="4" destOrd="0" presId="urn:microsoft.com/office/officeart/2016/7/layout/RoundedRectangleTimeline"/>
    <dgm:cxn modelId="{F2412BDD-6B30-472F-8D51-29848A799FAB}" type="presParOf" srcId="{582E6E34-7EF7-4E8E-8DC8-4DD5129E11B3}" destId="{C95FF623-1D85-45C2-8DDF-4A0CB0BCE42A}" srcOrd="13" destOrd="0" presId="urn:microsoft.com/office/officeart/2016/7/layout/RoundedRectangleTimeline"/>
    <dgm:cxn modelId="{752B845F-25E8-48E2-9BB0-F90785992ECF}" type="presParOf" srcId="{582E6E34-7EF7-4E8E-8DC8-4DD5129E11B3}" destId="{1E1A2C0D-A221-4975-B9BE-2C06F3BEB1A6}" srcOrd="14" destOrd="0" presId="urn:microsoft.com/office/officeart/2016/7/layout/RoundedRectangleTimeline"/>
    <dgm:cxn modelId="{F6A6B956-88E9-448D-A3F2-C1607B32B19F}" type="presParOf" srcId="{1E1A2C0D-A221-4975-B9BE-2C06F3BEB1A6}" destId="{683B96C1-17D5-429D-B75D-F558A960CE0C}" srcOrd="0" destOrd="0" presId="urn:microsoft.com/office/officeart/2016/7/layout/RoundedRectangleTimeline"/>
    <dgm:cxn modelId="{D10BDE5A-D4FF-4999-829E-4DC98BF686B0}" type="presParOf" srcId="{1E1A2C0D-A221-4975-B9BE-2C06F3BEB1A6}" destId="{DE7E5952-8F38-4C15-BBC0-A95779E9EF38}" srcOrd="1" destOrd="0" presId="urn:microsoft.com/office/officeart/2016/7/layout/RoundedRectangleTimeline"/>
    <dgm:cxn modelId="{3F782097-8829-4493-84AB-86A695A5B2DF}" type="presParOf" srcId="{1E1A2C0D-A221-4975-B9BE-2C06F3BEB1A6}" destId="{B40660E7-480B-4517-8336-4F32C2822BE3}" srcOrd="2" destOrd="0" presId="urn:microsoft.com/office/officeart/2016/7/layout/RoundedRectangleTimeline"/>
    <dgm:cxn modelId="{F1155EAA-916D-46BD-B518-966E98F0666B}" type="presParOf" srcId="{1E1A2C0D-A221-4975-B9BE-2C06F3BEB1A6}" destId="{12D427F4-99AD-4AF6-848D-32B3B6C1983E}" srcOrd="3" destOrd="0" presId="urn:microsoft.com/office/officeart/2016/7/layout/RoundedRectangleTimeline"/>
    <dgm:cxn modelId="{A5DF5F2E-237B-4790-AFB7-25C21A5DA131}" type="presParOf" srcId="{1E1A2C0D-A221-4975-B9BE-2C06F3BEB1A6}" destId="{4DC2DD4D-783A-4F14-A369-DD175E0F2EED}" srcOrd="4" destOrd="0" presId="urn:microsoft.com/office/officeart/2016/7/layout/RoundedRectangleTimeline"/>
    <dgm:cxn modelId="{EB16D3DD-0CF9-4178-837E-2BD3EB7CB667}" type="presParOf" srcId="{582E6E34-7EF7-4E8E-8DC8-4DD5129E11B3}" destId="{4DB46ABC-6AFC-4A20-868C-852BFC0F46A7}" srcOrd="15" destOrd="0" presId="urn:microsoft.com/office/officeart/2016/7/layout/RoundedRectangleTimeline"/>
    <dgm:cxn modelId="{A7B09BF9-C651-43C5-B74C-4617F1280DED}" type="presParOf" srcId="{582E6E34-7EF7-4E8E-8DC8-4DD5129E11B3}" destId="{0A8539D0-CD49-4A94-BD8A-C11C9468C477}" srcOrd="16" destOrd="0" presId="urn:microsoft.com/office/officeart/2016/7/layout/RoundedRectangleTimeline"/>
    <dgm:cxn modelId="{D2EE86E8-E191-4882-B312-59BA36DBD44A}" type="presParOf" srcId="{0A8539D0-CD49-4A94-BD8A-C11C9468C477}" destId="{5EE58C29-08CA-4BD6-8750-F9DF2B5218E3}" srcOrd="0" destOrd="0" presId="urn:microsoft.com/office/officeart/2016/7/layout/RoundedRectangleTimeline"/>
    <dgm:cxn modelId="{46DEA43D-5E15-4375-94D8-E430A457D0C4}" type="presParOf" srcId="{0A8539D0-CD49-4A94-BD8A-C11C9468C477}" destId="{12B3EE98-8EA9-477D-94FC-AC58F05F5524}" srcOrd="1" destOrd="0" presId="urn:microsoft.com/office/officeart/2016/7/layout/RoundedRectangleTimeline"/>
    <dgm:cxn modelId="{FA6545B0-4336-4105-A5CC-DEF63AA71030}" type="presParOf" srcId="{0A8539D0-CD49-4A94-BD8A-C11C9468C477}" destId="{89CC0DF3-1F74-4B31-A04D-4075AB915F19}" srcOrd="2" destOrd="0" presId="urn:microsoft.com/office/officeart/2016/7/layout/RoundedRectangleTimeline"/>
    <dgm:cxn modelId="{2A046CB5-5856-41F1-B42D-3DC15B051DF3}" type="presParOf" srcId="{0A8539D0-CD49-4A94-BD8A-C11C9468C477}" destId="{84C9B3F7-DF05-4119-B805-6C432BEE03A2}" srcOrd="3" destOrd="0" presId="urn:microsoft.com/office/officeart/2016/7/layout/RoundedRectangleTimeline"/>
    <dgm:cxn modelId="{BA240642-8ACE-4969-8664-A272D5992125}" type="presParOf" srcId="{0A8539D0-CD49-4A94-BD8A-C11C9468C477}" destId="{A1260AED-7704-4BED-AE2B-9CE9E2C353E1}" srcOrd="4" destOrd="0" presId="urn:microsoft.com/office/officeart/2016/7/layout/RoundedRectangleTimeline"/>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933674C-4290-42B7-AF47-6EE61E1C3C28}" type="doc">
      <dgm:prSet loTypeId="urn:microsoft.com/office/officeart/2016/7/layout/RoundedRectangleTimeline" loCatId="process" qsTypeId="urn:microsoft.com/office/officeart/2005/8/quickstyle/simple1" qsCatId="simple" csTypeId="urn:microsoft.com/office/officeart/2005/8/colors/colorful1" csCatId="colorful" phldr="1"/>
      <dgm:spPr/>
      <dgm:t>
        <a:bodyPr/>
        <a:lstStyle/>
        <a:p>
          <a:endParaRPr lang="en-US"/>
        </a:p>
      </dgm:t>
    </dgm:pt>
    <dgm:pt modelId="{CE8FFBC8-E2BA-47DA-9E56-BC017E100402}">
      <dgm:prSet/>
      <dgm:spPr>
        <a:solidFill>
          <a:srgbClr val="001F60"/>
        </a:solidFill>
        <a:ln>
          <a:solidFill>
            <a:srgbClr val="001F60"/>
          </a:solidFill>
        </a:ln>
      </dgm:spPr>
      <dgm:t>
        <a:bodyPr/>
        <a:lstStyle/>
        <a:p>
          <a:r>
            <a:rPr lang="en-US"/>
            <a:t>Feb. 2013</a:t>
          </a:r>
        </a:p>
      </dgm:t>
    </dgm:pt>
    <dgm:pt modelId="{ED72FA2A-DDBD-4B15-B7C1-ED29DD27BE6C}" type="parTrans" cxnId="{2151ED4A-379D-4A94-8242-A6428EC23F84}">
      <dgm:prSet/>
      <dgm:spPr/>
      <dgm:t>
        <a:bodyPr/>
        <a:lstStyle/>
        <a:p>
          <a:endParaRPr lang="en-US"/>
        </a:p>
      </dgm:t>
    </dgm:pt>
    <dgm:pt modelId="{E5DD65D9-4D81-4A76-B0AC-C96CA8632279}" type="sibTrans" cxnId="{2151ED4A-379D-4A94-8242-A6428EC23F84}">
      <dgm:prSet/>
      <dgm:spPr/>
      <dgm:t>
        <a:bodyPr/>
        <a:lstStyle/>
        <a:p>
          <a:endParaRPr lang="en-US"/>
        </a:p>
      </dgm:t>
    </dgm:pt>
    <dgm:pt modelId="{EB65F050-0746-49E3-9843-A6F45049196C}">
      <dgm:prSet/>
      <dgm:spPr/>
      <dgm:t>
        <a:bodyPr/>
        <a:lstStyle/>
        <a:p>
          <a:r>
            <a:rPr lang="de-DE" dirty="0"/>
            <a:t>Vehicle EE </a:t>
          </a:r>
          <a:r>
            <a:rPr lang="de-DE" dirty="0" err="1"/>
            <a:t>label</a:t>
          </a:r>
          <a:r>
            <a:rPr lang="de-DE" dirty="0"/>
            <a:t> </a:t>
          </a:r>
          <a:r>
            <a:rPr lang="de-DE" dirty="0" err="1"/>
            <a:t>validity</a:t>
          </a:r>
          <a:r>
            <a:rPr lang="de-DE" dirty="0"/>
            <a:t>. Light </a:t>
          </a:r>
          <a:r>
            <a:rPr lang="de-DE" dirty="0" err="1"/>
            <a:t>vehicles</a:t>
          </a:r>
          <a:r>
            <a:rPr lang="de-DE" dirty="0"/>
            <a:t>.</a:t>
          </a:r>
          <a:endParaRPr lang="en-US" dirty="0"/>
        </a:p>
      </dgm:t>
    </dgm:pt>
    <dgm:pt modelId="{755BA2A8-D0AB-46C9-B8CF-ADFE64C9E888}" type="parTrans" cxnId="{EABD0CB6-D244-41EB-88D0-0A833939D4EC}">
      <dgm:prSet/>
      <dgm:spPr/>
      <dgm:t>
        <a:bodyPr/>
        <a:lstStyle/>
        <a:p>
          <a:endParaRPr lang="en-US"/>
        </a:p>
      </dgm:t>
    </dgm:pt>
    <dgm:pt modelId="{CB64B9BA-97CD-49C5-B540-E83A1B367D8E}" type="sibTrans" cxnId="{EABD0CB6-D244-41EB-88D0-0A833939D4EC}">
      <dgm:prSet/>
      <dgm:spPr/>
      <dgm:t>
        <a:bodyPr/>
        <a:lstStyle/>
        <a:p>
          <a:endParaRPr lang="en-US"/>
        </a:p>
      </dgm:t>
    </dgm:pt>
    <dgm:pt modelId="{32937003-63D0-4FDC-9666-4B319A3B4D99}">
      <dgm:prSet/>
      <dgm:spPr>
        <a:solidFill>
          <a:srgbClr val="001F60"/>
        </a:solidFill>
        <a:ln>
          <a:solidFill>
            <a:srgbClr val="001F60"/>
          </a:solidFill>
        </a:ln>
      </dgm:spPr>
      <dgm:t>
        <a:bodyPr/>
        <a:lstStyle/>
        <a:p>
          <a:r>
            <a:rPr lang="en-US"/>
            <a:t>Jun. 2017</a:t>
          </a:r>
        </a:p>
      </dgm:t>
    </dgm:pt>
    <dgm:pt modelId="{E4BC9C80-2619-4B37-98D9-B853F2A9F1C5}" type="parTrans" cxnId="{03292CC5-215D-4FBC-B827-695EFB4B9954}">
      <dgm:prSet/>
      <dgm:spPr/>
      <dgm:t>
        <a:bodyPr/>
        <a:lstStyle/>
        <a:p>
          <a:endParaRPr lang="en-US"/>
        </a:p>
      </dgm:t>
    </dgm:pt>
    <dgm:pt modelId="{B91B7E21-CF4D-4D85-824E-CFC64C024D9B}" type="sibTrans" cxnId="{03292CC5-215D-4FBC-B827-695EFB4B9954}">
      <dgm:prSet/>
      <dgm:spPr/>
      <dgm:t>
        <a:bodyPr/>
        <a:lstStyle/>
        <a:p>
          <a:endParaRPr lang="en-US"/>
        </a:p>
      </dgm:t>
    </dgm:pt>
    <dgm:pt modelId="{BA21C4A7-E6BA-4EFE-8BD0-32F124BDDDBD}">
      <dgm:prSet/>
      <dgm:spPr/>
      <dgm:t>
        <a:bodyPr/>
        <a:lstStyle/>
        <a:p>
          <a:r>
            <a:rPr lang="en-US" dirty="0"/>
            <a:t>Validity of the EE Vehicle Label. Medium vehicles.</a:t>
          </a:r>
        </a:p>
      </dgm:t>
    </dgm:pt>
    <dgm:pt modelId="{A958AE09-ACE6-4796-A101-3DF379BA7FA9}" type="parTrans" cxnId="{12B8DB2C-AB79-409D-AD94-D7D8E43E4475}">
      <dgm:prSet/>
      <dgm:spPr/>
      <dgm:t>
        <a:bodyPr/>
        <a:lstStyle/>
        <a:p>
          <a:endParaRPr lang="en-US"/>
        </a:p>
      </dgm:t>
    </dgm:pt>
    <dgm:pt modelId="{4F01E7F4-2C52-4DED-9A8C-C79A192A618C}" type="sibTrans" cxnId="{12B8DB2C-AB79-409D-AD94-D7D8E43E4475}">
      <dgm:prSet/>
      <dgm:spPr/>
      <dgm:t>
        <a:bodyPr/>
        <a:lstStyle/>
        <a:p>
          <a:endParaRPr lang="en-US"/>
        </a:p>
      </dgm:t>
    </dgm:pt>
    <dgm:pt modelId="{501F7932-FC98-41F8-A403-0E1BF3B99541}">
      <dgm:prSet/>
      <dgm:spPr>
        <a:solidFill>
          <a:srgbClr val="68B0AB"/>
        </a:solidFill>
        <a:ln>
          <a:solidFill>
            <a:srgbClr val="68B0AB"/>
          </a:solidFill>
        </a:ln>
      </dgm:spPr>
      <dgm:t>
        <a:bodyPr/>
        <a:lstStyle/>
        <a:p>
          <a:r>
            <a:rPr lang="en-US" b="0"/>
            <a:t>Sept. 2018</a:t>
          </a:r>
        </a:p>
      </dgm:t>
    </dgm:pt>
    <dgm:pt modelId="{7365D153-497B-49C4-BB32-CAA611F9CA43}" type="parTrans" cxnId="{EA607902-9BF8-46FF-AAA2-05968A519330}">
      <dgm:prSet/>
      <dgm:spPr/>
      <dgm:t>
        <a:bodyPr/>
        <a:lstStyle/>
        <a:p>
          <a:endParaRPr lang="en-US"/>
        </a:p>
      </dgm:t>
    </dgm:pt>
    <dgm:pt modelId="{23A4C872-C752-4CBB-B820-62B4332BF915}" type="sibTrans" cxnId="{EA607902-9BF8-46FF-AAA2-05968A519330}">
      <dgm:prSet/>
      <dgm:spPr/>
      <dgm:t>
        <a:bodyPr/>
        <a:lstStyle/>
        <a:p>
          <a:endParaRPr lang="en-US"/>
        </a:p>
      </dgm:t>
    </dgm:pt>
    <dgm:pt modelId="{7D3675B4-3075-46CC-AB37-C0CE38589862}">
      <dgm:prSet/>
      <dgm:spPr/>
      <dgm:t>
        <a:bodyPr/>
        <a:lstStyle/>
        <a:p>
          <a:r>
            <a:rPr lang="en-US" b="0" dirty="0"/>
            <a:t>Energy efficiency policy entering Congress</a:t>
          </a:r>
        </a:p>
      </dgm:t>
    </dgm:pt>
    <dgm:pt modelId="{682E30EA-7044-46DF-A1E1-7B007EE52EFE}" type="parTrans" cxnId="{7D1F6090-CEB5-46F5-B867-92595F0C0FD5}">
      <dgm:prSet/>
      <dgm:spPr/>
      <dgm:t>
        <a:bodyPr/>
        <a:lstStyle/>
        <a:p>
          <a:endParaRPr lang="en-US"/>
        </a:p>
      </dgm:t>
    </dgm:pt>
    <dgm:pt modelId="{B71A92AC-EDD9-42DA-B336-12AA86C03EFE}" type="sibTrans" cxnId="{7D1F6090-CEB5-46F5-B867-92595F0C0FD5}">
      <dgm:prSet/>
      <dgm:spPr/>
      <dgm:t>
        <a:bodyPr/>
        <a:lstStyle/>
        <a:p>
          <a:endParaRPr lang="en-US"/>
        </a:p>
      </dgm:t>
    </dgm:pt>
    <dgm:pt modelId="{A336B9F0-4628-42CC-8778-7C238F760089}">
      <dgm:prSet/>
      <dgm:spPr>
        <a:solidFill>
          <a:srgbClr val="68B0AB"/>
        </a:solidFill>
        <a:ln>
          <a:solidFill>
            <a:srgbClr val="68B0AB"/>
          </a:solidFill>
        </a:ln>
      </dgm:spPr>
      <dgm:t>
        <a:bodyPr/>
        <a:lstStyle/>
        <a:p>
          <a:r>
            <a:rPr lang="en-US" b="0"/>
            <a:t>Feb. 2021</a:t>
          </a:r>
        </a:p>
      </dgm:t>
    </dgm:pt>
    <dgm:pt modelId="{6362C794-5B89-4CFA-AB8E-FBA3F222C00F}" type="parTrans" cxnId="{5F2F8725-58FA-4BD1-80A5-A7675C22875B}">
      <dgm:prSet/>
      <dgm:spPr/>
      <dgm:t>
        <a:bodyPr/>
        <a:lstStyle/>
        <a:p>
          <a:endParaRPr lang="en-US"/>
        </a:p>
      </dgm:t>
    </dgm:pt>
    <dgm:pt modelId="{4B2572B2-EEEC-4C64-A550-F3D53437A0A1}" type="sibTrans" cxnId="{5F2F8725-58FA-4BD1-80A5-A7675C22875B}">
      <dgm:prSet/>
      <dgm:spPr/>
      <dgm:t>
        <a:bodyPr/>
        <a:lstStyle/>
        <a:p>
          <a:endParaRPr lang="en-US"/>
        </a:p>
      </dgm:t>
    </dgm:pt>
    <dgm:pt modelId="{6B06414B-420D-4712-9CE8-3D5FBCA2C995}">
      <dgm:prSet/>
      <dgm:spPr/>
      <dgm:t>
        <a:bodyPr/>
        <a:lstStyle/>
        <a:p>
          <a:r>
            <a:rPr lang="en-US" b="1" dirty="0"/>
            <a:t>Publication of the Energy Efficiency Law.</a:t>
          </a:r>
        </a:p>
      </dgm:t>
    </dgm:pt>
    <dgm:pt modelId="{DE621301-F923-45AC-ADDF-074E0E63E201}" type="parTrans" cxnId="{5ABFC0E1-D710-4637-9EB2-BB07602D92F7}">
      <dgm:prSet/>
      <dgm:spPr/>
      <dgm:t>
        <a:bodyPr/>
        <a:lstStyle/>
        <a:p>
          <a:endParaRPr lang="en-US"/>
        </a:p>
      </dgm:t>
    </dgm:pt>
    <dgm:pt modelId="{192804D4-C6DD-4C5A-B317-1077756EFC4D}" type="sibTrans" cxnId="{5ABFC0E1-D710-4637-9EB2-BB07602D92F7}">
      <dgm:prSet/>
      <dgm:spPr/>
      <dgm:t>
        <a:bodyPr/>
        <a:lstStyle/>
        <a:p>
          <a:endParaRPr lang="en-US"/>
        </a:p>
      </dgm:t>
    </dgm:pt>
    <dgm:pt modelId="{3F7A9B2D-A9D1-4AD3-95BC-056D64B1A9BA}">
      <dgm:prSet/>
      <dgm:spPr>
        <a:solidFill>
          <a:srgbClr val="00B050"/>
        </a:solidFill>
        <a:ln>
          <a:solidFill>
            <a:srgbClr val="00B050"/>
          </a:solidFill>
        </a:ln>
      </dgm:spPr>
      <dgm:t>
        <a:bodyPr/>
        <a:lstStyle/>
        <a:p>
          <a:r>
            <a:rPr lang="en-US" b="1"/>
            <a:t>2024</a:t>
          </a:r>
        </a:p>
      </dgm:t>
    </dgm:pt>
    <dgm:pt modelId="{2318A579-14C4-4E3A-B398-29BD9B706537}" type="parTrans" cxnId="{0EBE815F-D6F5-4BE3-A657-D69FE2BCCABD}">
      <dgm:prSet/>
      <dgm:spPr/>
      <dgm:t>
        <a:bodyPr/>
        <a:lstStyle/>
        <a:p>
          <a:endParaRPr lang="en-US"/>
        </a:p>
      </dgm:t>
    </dgm:pt>
    <dgm:pt modelId="{AD5FE1A1-8009-46F4-933C-69B3995A1C1D}" type="sibTrans" cxnId="{0EBE815F-D6F5-4BE3-A657-D69FE2BCCABD}">
      <dgm:prSet/>
      <dgm:spPr/>
      <dgm:t>
        <a:bodyPr/>
        <a:lstStyle/>
        <a:p>
          <a:endParaRPr lang="en-US"/>
        </a:p>
      </dgm:t>
    </dgm:pt>
    <dgm:pt modelId="{97D12A91-DFC2-4B57-818E-2D8A1D21340A}">
      <dgm:prSet/>
      <dgm:spPr/>
      <dgm:t>
        <a:bodyPr/>
        <a:lstStyle/>
        <a:p>
          <a:r>
            <a:rPr lang="en-US" b="0" dirty="0"/>
            <a:t>February: light vehicles entry into force.
April: Publication of Resolution No. 14 that sets the standard for medium-sized vehicles</a:t>
          </a:r>
        </a:p>
      </dgm:t>
    </dgm:pt>
    <dgm:pt modelId="{9C8787AB-050B-468F-B201-7DB3835F9DE0}" type="parTrans" cxnId="{D2C10991-31AD-4AD8-886C-7106F963A72C}">
      <dgm:prSet/>
      <dgm:spPr/>
      <dgm:t>
        <a:bodyPr/>
        <a:lstStyle/>
        <a:p>
          <a:endParaRPr lang="en-US"/>
        </a:p>
      </dgm:t>
    </dgm:pt>
    <dgm:pt modelId="{CE20BF21-5E6D-4A06-91D9-5903A9E72408}" type="sibTrans" cxnId="{D2C10991-31AD-4AD8-886C-7106F963A72C}">
      <dgm:prSet/>
      <dgm:spPr/>
      <dgm:t>
        <a:bodyPr/>
        <a:lstStyle/>
        <a:p>
          <a:endParaRPr lang="en-US"/>
        </a:p>
      </dgm:t>
    </dgm:pt>
    <dgm:pt modelId="{AEC5F47F-638D-4F1A-A12F-ACAC6CC45D6C}">
      <dgm:prSet/>
      <dgm:spPr>
        <a:solidFill>
          <a:srgbClr val="00B050"/>
        </a:solidFill>
        <a:ln>
          <a:solidFill>
            <a:srgbClr val="00B050"/>
          </a:solidFill>
        </a:ln>
      </dgm:spPr>
      <dgm:t>
        <a:bodyPr/>
        <a:lstStyle/>
        <a:p>
          <a:r>
            <a:rPr lang="en-US" b="0"/>
            <a:t>2028</a:t>
          </a:r>
        </a:p>
      </dgm:t>
    </dgm:pt>
    <dgm:pt modelId="{4261E339-ED49-4B31-ABAB-E81A9A100A1E}" type="parTrans" cxnId="{C611D62C-3B2D-45C3-A005-27A0E79C96D6}">
      <dgm:prSet/>
      <dgm:spPr/>
      <dgm:t>
        <a:bodyPr/>
        <a:lstStyle/>
        <a:p>
          <a:endParaRPr lang="en-US"/>
        </a:p>
      </dgm:t>
    </dgm:pt>
    <dgm:pt modelId="{FC005279-E39B-42FD-AB00-06BB06754698}" type="sibTrans" cxnId="{C611D62C-3B2D-45C3-A005-27A0E79C96D6}">
      <dgm:prSet/>
      <dgm:spPr/>
      <dgm:t>
        <a:bodyPr/>
        <a:lstStyle/>
        <a:p>
          <a:endParaRPr lang="en-US"/>
        </a:p>
      </dgm:t>
    </dgm:pt>
    <dgm:pt modelId="{45D294F7-8786-48D3-9B1C-D35D8773E3D9}">
      <dgm:prSet/>
      <dgm:spPr/>
      <dgm:t>
        <a:bodyPr/>
        <a:lstStyle/>
        <a:p>
          <a:r>
            <a:rPr lang="en-US" b="0" dirty="0"/>
            <a:t>Deadline for entry into force of the heavy vehicle standard</a:t>
          </a:r>
        </a:p>
      </dgm:t>
    </dgm:pt>
    <dgm:pt modelId="{2BFF1500-0DDA-46AB-8175-942296D6EEFA}" type="parTrans" cxnId="{64E67690-7551-467A-B97D-9045B30A9B8B}">
      <dgm:prSet/>
      <dgm:spPr/>
      <dgm:t>
        <a:bodyPr/>
        <a:lstStyle/>
        <a:p>
          <a:endParaRPr lang="en-US"/>
        </a:p>
      </dgm:t>
    </dgm:pt>
    <dgm:pt modelId="{C161F37E-DE6C-4911-BF1A-EC33FB6D5529}" type="sibTrans" cxnId="{64E67690-7551-467A-B97D-9045B30A9B8B}">
      <dgm:prSet/>
      <dgm:spPr/>
      <dgm:t>
        <a:bodyPr/>
        <a:lstStyle/>
        <a:p>
          <a:endParaRPr lang="en-US"/>
        </a:p>
      </dgm:t>
    </dgm:pt>
    <dgm:pt modelId="{0A6B3A7F-D990-4374-92A8-3085422F9BBF}">
      <dgm:prSet/>
      <dgm:spPr>
        <a:solidFill>
          <a:srgbClr val="00B050"/>
        </a:solidFill>
        <a:ln>
          <a:solidFill>
            <a:srgbClr val="00B050"/>
          </a:solidFill>
        </a:ln>
      </dgm:spPr>
      <dgm:t>
        <a:bodyPr/>
        <a:lstStyle/>
        <a:p>
          <a:r>
            <a:rPr lang="en-US"/>
            <a:t>2026</a:t>
          </a:r>
        </a:p>
      </dgm:t>
    </dgm:pt>
    <dgm:pt modelId="{F4241D84-C1A8-415A-9B97-6953BFBEBE44}" type="parTrans" cxnId="{5D2EB90D-0059-46DC-8000-E9A3038A55BD}">
      <dgm:prSet/>
      <dgm:spPr/>
      <dgm:t>
        <a:bodyPr/>
        <a:lstStyle/>
        <a:p>
          <a:endParaRPr lang="es-CL"/>
        </a:p>
      </dgm:t>
    </dgm:pt>
    <dgm:pt modelId="{FE791B7C-5C81-47E0-A35E-FA36AB967D9E}" type="sibTrans" cxnId="{5D2EB90D-0059-46DC-8000-E9A3038A55BD}">
      <dgm:prSet/>
      <dgm:spPr/>
      <dgm:t>
        <a:bodyPr/>
        <a:lstStyle/>
        <a:p>
          <a:endParaRPr lang="es-CL"/>
        </a:p>
      </dgm:t>
    </dgm:pt>
    <dgm:pt modelId="{DF6C0C9C-440A-4BE0-A1D4-BDBBA2121361}">
      <dgm:prSet/>
      <dgm:spPr/>
      <dgm:t>
        <a:bodyPr/>
        <a:lstStyle/>
        <a:p>
          <a:r>
            <a:rPr lang="en-US" dirty="0"/>
            <a:t>Feb: standard publication v. heavy.
April: entry into force v. medium.</a:t>
          </a:r>
        </a:p>
      </dgm:t>
    </dgm:pt>
    <dgm:pt modelId="{2856E338-3A34-49BC-8BFD-FC5BCD4EDE9B}" type="parTrans" cxnId="{1064DC57-9512-47E8-AA38-46AE6C2A3E6C}">
      <dgm:prSet/>
      <dgm:spPr/>
      <dgm:t>
        <a:bodyPr/>
        <a:lstStyle/>
        <a:p>
          <a:endParaRPr lang="es-CL"/>
        </a:p>
      </dgm:t>
    </dgm:pt>
    <dgm:pt modelId="{688EFA42-9586-43DB-BABE-9A7E5E2FCB69}" type="sibTrans" cxnId="{1064DC57-9512-47E8-AA38-46AE6C2A3E6C}">
      <dgm:prSet/>
      <dgm:spPr/>
      <dgm:t>
        <a:bodyPr/>
        <a:lstStyle/>
        <a:p>
          <a:endParaRPr lang="es-CL"/>
        </a:p>
      </dgm:t>
    </dgm:pt>
    <dgm:pt modelId="{EBF958DC-45D1-43FA-ABB8-1B6A4090878F}">
      <dgm:prSet phldr="0"/>
      <dgm:spPr>
        <a:solidFill>
          <a:srgbClr val="00B050"/>
        </a:solidFill>
        <a:ln>
          <a:solidFill>
            <a:srgbClr val="00B050"/>
          </a:solidFill>
        </a:ln>
      </dgm:spPr>
      <dgm:t>
        <a:bodyPr/>
        <a:lstStyle/>
        <a:p>
          <a:pPr rtl="0"/>
          <a:r>
            <a:rPr lang="en-US" b="0">
              <a:latin typeface="Poppins"/>
            </a:rPr>
            <a:t>Feb. 2022</a:t>
          </a:r>
        </a:p>
      </dgm:t>
    </dgm:pt>
    <dgm:pt modelId="{9712E9A8-3339-4D76-97C6-60301B9584D8}" type="parTrans" cxnId="{8270740E-7C3A-4CDF-A7EA-9CB3D815369F}">
      <dgm:prSet/>
      <dgm:spPr/>
      <dgm:t>
        <a:bodyPr/>
        <a:lstStyle/>
        <a:p>
          <a:endParaRPr lang="es-CL"/>
        </a:p>
      </dgm:t>
    </dgm:pt>
    <dgm:pt modelId="{ED0076A6-2648-48C2-AA38-D2680A2AC8D8}" type="sibTrans" cxnId="{8270740E-7C3A-4CDF-A7EA-9CB3D815369F}">
      <dgm:prSet/>
      <dgm:spPr/>
      <dgm:t>
        <a:bodyPr/>
        <a:lstStyle/>
        <a:p>
          <a:endParaRPr lang="es-CL"/>
        </a:p>
      </dgm:t>
    </dgm:pt>
    <dgm:pt modelId="{B79AA00B-786D-4FC7-A28F-4526FEAEE60E}">
      <dgm:prSet phldr="0"/>
      <dgm:spPr/>
      <dgm:t>
        <a:bodyPr/>
        <a:lstStyle/>
        <a:p>
          <a:pPr rtl="0"/>
          <a:r>
            <a:rPr lang="en-US" dirty="0"/>
            <a:t>Publication of Resolution N°5 that sets standards for light vehicles.</a:t>
          </a:r>
          <a:endParaRPr lang="en-US" b="0" dirty="0">
            <a:latin typeface="Poppins"/>
          </a:endParaRPr>
        </a:p>
      </dgm:t>
    </dgm:pt>
    <dgm:pt modelId="{3223005F-434F-4025-B744-1090B2BB222D}" type="parTrans" cxnId="{4C3A8007-72BC-4708-BCF2-BBDEE0C6F2FE}">
      <dgm:prSet/>
      <dgm:spPr/>
      <dgm:t>
        <a:bodyPr/>
        <a:lstStyle/>
        <a:p>
          <a:endParaRPr lang="es-CL"/>
        </a:p>
      </dgm:t>
    </dgm:pt>
    <dgm:pt modelId="{8457B18D-E505-4EB1-B848-317953D6AD9D}" type="sibTrans" cxnId="{4C3A8007-72BC-4708-BCF2-BBDEE0C6F2FE}">
      <dgm:prSet/>
      <dgm:spPr/>
      <dgm:t>
        <a:bodyPr/>
        <a:lstStyle/>
        <a:p>
          <a:endParaRPr lang="es-CL"/>
        </a:p>
      </dgm:t>
    </dgm:pt>
    <dgm:pt modelId="{EA1395A7-BABE-4F03-AD5D-2266326D3D03}">
      <dgm:prSet/>
      <dgm:spPr>
        <a:solidFill>
          <a:srgbClr val="001F60"/>
        </a:solidFill>
        <a:ln>
          <a:solidFill>
            <a:srgbClr val="001F60"/>
          </a:solidFill>
        </a:ln>
      </dgm:spPr>
      <dgm:t>
        <a:bodyPr/>
        <a:lstStyle/>
        <a:p>
          <a:r>
            <a:rPr lang="en-US" dirty="0"/>
            <a:t>Aug. 2012</a:t>
          </a:r>
        </a:p>
      </dgm:t>
    </dgm:pt>
    <dgm:pt modelId="{399B732E-66B7-4B5D-A1C6-951D63ADD3BB}" type="parTrans" cxnId="{0B6217EC-19BF-47AB-AA8C-BF268080F830}">
      <dgm:prSet/>
      <dgm:spPr/>
      <dgm:t>
        <a:bodyPr/>
        <a:lstStyle/>
        <a:p>
          <a:endParaRPr lang="es-CL"/>
        </a:p>
      </dgm:t>
    </dgm:pt>
    <dgm:pt modelId="{8AFBAEDD-7C30-477A-B532-229E595C8384}" type="sibTrans" cxnId="{0B6217EC-19BF-47AB-AA8C-BF268080F830}">
      <dgm:prSet/>
      <dgm:spPr/>
      <dgm:t>
        <a:bodyPr/>
        <a:lstStyle/>
        <a:p>
          <a:endParaRPr lang="es-CL"/>
        </a:p>
      </dgm:t>
    </dgm:pt>
    <dgm:pt modelId="{DB3C4AAD-02E1-403E-95FA-48F65A183B48}">
      <dgm:prSet custT="1"/>
      <dgm:spPr>
        <a:noFill/>
        <a:ln>
          <a:noFill/>
        </a:ln>
        <a:effectLst/>
      </dgm:spPr>
      <dgm:t>
        <a:bodyPr spcFirstLastPara="0" vert="horz" wrap="square" lIns="0" tIns="0" rIns="0" bIns="99060" numCol="1" spcCol="1270" anchor="b" anchorCtr="1"/>
        <a:lstStyle/>
        <a:p>
          <a:pPr marL="0" lvl="0" indent="0" algn="ctr" defTabSz="577850">
            <a:lnSpc>
              <a:spcPct val="90000"/>
            </a:lnSpc>
            <a:spcBef>
              <a:spcPct val="0"/>
            </a:spcBef>
            <a:spcAft>
              <a:spcPct val="35000"/>
            </a:spcAft>
            <a:buNone/>
          </a:pPr>
          <a:r>
            <a:rPr lang="en-US" sz="1300" kern="1200" dirty="0">
              <a:solidFill>
                <a:srgbClr val="001F60">
                  <a:hueOff val="0"/>
                  <a:satOff val="0"/>
                  <a:lumOff val="0"/>
                  <a:alphaOff val="0"/>
                </a:srgbClr>
              </a:solidFill>
              <a:latin typeface="Century Gothic"/>
              <a:ea typeface="+mn-ea"/>
              <a:cs typeface="+mn-cs"/>
            </a:rPr>
            <a:t>D. 61: Vehicle Labeling Regulations.</a:t>
          </a:r>
        </a:p>
      </dgm:t>
    </dgm:pt>
    <dgm:pt modelId="{4B5FE38C-4D15-41E9-8BE5-0F6716FBCD39}" type="parTrans" cxnId="{73FCB680-7F3C-4AAA-B799-4BD1D7DA69EA}">
      <dgm:prSet/>
      <dgm:spPr/>
      <dgm:t>
        <a:bodyPr/>
        <a:lstStyle/>
        <a:p>
          <a:endParaRPr lang="es-CL"/>
        </a:p>
      </dgm:t>
    </dgm:pt>
    <dgm:pt modelId="{D7623F5D-B2F1-406B-BBB8-E7B25CFED5A3}" type="sibTrans" cxnId="{73FCB680-7F3C-4AAA-B799-4BD1D7DA69EA}">
      <dgm:prSet/>
      <dgm:spPr/>
      <dgm:t>
        <a:bodyPr/>
        <a:lstStyle/>
        <a:p>
          <a:endParaRPr lang="es-CL"/>
        </a:p>
      </dgm:t>
    </dgm:pt>
    <dgm:pt modelId="{582E6E34-7EF7-4E8E-8DC8-4DD5129E11B3}" type="pres">
      <dgm:prSet presAssocID="{1933674C-4290-42B7-AF47-6EE61E1C3C28}" presName="Name0" presStyleCnt="0">
        <dgm:presLayoutVars>
          <dgm:chMax/>
          <dgm:chPref/>
          <dgm:animLvl val="lvl"/>
        </dgm:presLayoutVars>
      </dgm:prSet>
      <dgm:spPr/>
    </dgm:pt>
    <dgm:pt modelId="{B8FBED92-F528-4356-A34A-87F36E936788}" type="pres">
      <dgm:prSet presAssocID="{EA1395A7-BABE-4F03-AD5D-2266326D3D03}" presName="composite1" presStyleCnt="0"/>
      <dgm:spPr/>
    </dgm:pt>
    <dgm:pt modelId="{B0FBAA9D-3C98-4312-ABD5-AAC590CA1F4B}" type="pres">
      <dgm:prSet presAssocID="{EA1395A7-BABE-4F03-AD5D-2266326D3D03}" presName="parent1" presStyleLbl="alignNode1" presStyleIdx="0" presStyleCnt="9">
        <dgm:presLayoutVars>
          <dgm:chMax val="1"/>
          <dgm:chPref val="1"/>
          <dgm:bulletEnabled val="1"/>
        </dgm:presLayoutVars>
      </dgm:prSet>
      <dgm:spPr/>
    </dgm:pt>
    <dgm:pt modelId="{9D875279-7F85-451B-AA08-DCB5C149A1E7}" type="pres">
      <dgm:prSet presAssocID="{EA1395A7-BABE-4F03-AD5D-2266326D3D03}" presName="Childtext1" presStyleLbl="revTx" presStyleIdx="0" presStyleCnt="9">
        <dgm:presLayoutVars>
          <dgm:bulletEnabled val="1"/>
        </dgm:presLayoutVars>
      </dgm:prSet>
      <dgm:spPr>
        <a:xfrm>
          <a:off x="1540" y="0"/>
          <a:ext cx="1812503" cy="1522968"/>
        </a:xfrm>
        <a:prstGeom prst="rect">
          <a:avLst/>
        </a:prstGeom>
      </dgm:spPr>
    </dgm:pt>
    <dgm:pt modelId="{4A3D8B02-1214-46CE-8A43-CE419735DC67}" type="pres">
      <dgm:prSet presAssocID="{EA1395A7-BABE-4F03-AD5D-2266326D3D03}" presName="ConnectLine1" presStyleLbl="sibTrans1D1" presStyleIdx="0" presStyleCnt="9"/>
      <dgm:spPr>
        <a:noFill/>
        <a:ln w="6350" cap="flat" cmpd="sng" algn="ctr">
          <a:solidFill>
            <a:srgbClr val="001F60"/>
          </a:solidFill>
          <a:prstDash val="dash"/>
          <a:miter lim="800000"/>
        </a:ln>
        <a:effectLst/>
      </dgm:spPr>
    </dgm:pt>
    <dgm:pt modelId="{2C15677D-C56F-46EC-92F5-8582B34D741B}" type="pres">
      <dgm:prSet presAssocID="{EA1395A7-BABE-4F03-AD5D-2266326D3D03}" presName="ConnectLineEnd1" presStyleLbl="lnNode1" presStyleIdx="0" presStyleCnt="9"/>
      <dgm:spPr>
        <a:solidFill>
          <a:srgbClr val="001F60"/>
        </a:solidFill>
        <a:ln>
          <a:solidFill>
            <a:srgbClr val="001F60"/>
          </a:solidFill>
        </a:ln>
      </dgm:spPr>
    </dgm:pt>
    <dgm:pt modelId="{9374628A-9096-4DE9-BB86-A1F6F3582EB5}" type="pres">
      <dgm:prSet presAssocID="{EA1395A7-BABE-4F03-AD5D-2266326D3D03}" presName="EmptyPane1" presStyleCnt="0"/>
      <dgm:spPr/>
    </dgm:pt>
    <dgm:pt modelId="{84E7C9CA-F6AA-46DF-9FA1-C3D3B8BC96BF}" type="pres">
      <dgm:prSet presAssocID="{8AFBAEDD-7C30-477A-B532-229E595C8384}" presName="spaceBetweenRectangles1" presStyleCnt="0"/>
      <dgm:spPr/>
    </dgm:pt>
    <dgm:pt modelId="{B6601F5E-6E50-4D53-B6F8-A4C229DDDE65}" type="pres">
      <dgm:prSet presAssocID="{CE8FFBC8-E2BA-47DA-9E56-BC017E100402}" presName="composite1" presStyleCnt="0"/>
      <dgm:spPr/>
    </dgm:pt>
    <dgm:pt modelId="{CA993503-35AA-4DE5-9382-1AE376E2B913}" type="pres">
      <dgm:prSet presAssocID="{CE8FFBC8-E2BA-47DA-9E56-BC017E100402}" presName="parent1" presStyleLbl="alignNode1" presStyleIdx="1" presStyleCnt="9">
        <dgm:presLayoutVars>
          <dgm:chMax val="1"/>
          <dgm:chPref val="1"/>
          <dgm:bulletEnabled val="1"/>
        </dgm:presLayoutVars>
      </dgm:prSet>
      <dgm:spPr/>
    </dgm:pt>
    <dgm:pt modelId="{ACC77FD0-3BD4-4641-AF46-F6078067D98A}" type="pres">
      <dgm:prSet presAssocID="{CE8FFBC8-E2BA-47DA-9E56-BC017E100402}" presName="Childtext1" presStyleLbl="revTx" presStyleIdx="1" presStyleCnt="9">
        <dgm:presLayoutVars>
          <dgm:bulletEnabled val="1"/>
        </dgm:presLayoutVars>
      </dgm:prSet>
      <dgm:spPr/>
    </dgm:pt>
    <dgm:pt modelId="{E1B6C157-3DC8-4DC1-B2D6-0DA5F839CE5B}" type="pres">
      <dgm:prSet presAssocID="{CE8FFBC8-E2BA-47DA-9E56-BC017E100402}" presName="ConnectLine1" presStyleLbl="sibTrans1D1" presStyleIdx="1" presStyleCnt="9"/>
      <dgm:spPr>
        <a:noFill/>
        <a:ln w="6350" cap="flat" cmpd="sng" algn="ctr">
          <a:solidFill>
            <a:srgbClr val="001F60"/>
          </a:solidFill>
          <a:prstDash val="dash"/>
          <a:miter lim="800000"/>
        </a:ln>
        <a:effectLst/>
      </dgm:spPr>
    </dgm:pt>
    <dgm:pt modelId="{4D28EF5E-2DC7-483D-814A-922388E608E1}" type="pres">
      <dgm:prSet presAssocID="{CE8FFBC8-E2BA-47DA-9E56-BC017E100402}" presName="ConnectLineEnd1" presStyleLbl="lnNode1" presStyleIdx="1" presStyleCnt="9"/>
      <dgm:spPr>
        <a:solidFill>
          <a:srgbClr val="001F60"/>
        </a:solidFill>
        <a:ln>
          <a:solidFill>
            <a:srgbClr val="001F60"/>
          </a:solidFill>
        </a:ln>
      </dgm:spPr>
    </dgm:pt>
    <dgm:pt modelId="{42930C36-AAA2-4419-A3AD-9E546C999762}" type="pres">
      <dgm:prSet presAssocID="{CE8FFBC8-E2BA-47DA-9E56-BC017E100402}" presName="EmptyPane1" presStyleCnt="0"/>
      <dgm:spPr/>
    </dgm:pt>
    <dgm:pt modelId="{B8F227CD-8022-433C-AD56-963C3E06F0C4}" type="pres">
      <dgm:prSet presAssocID="{E5DD65D9-4D81-4A76-B0AC-C96CA8632279}" presName="spaceBetweenRectangles1" presStyleCnt="0"/>
      <dgm:spPr/>
    </dgm:pt>
    <dgm:pt modelId="{21BE2410-2557-4311-ABED-4458E88B4538}" type="pres">
      <dgm:prSet presAssocID="{32937003-63D0-4FDC-9666-4B319A3B4D99}" presName="composite1" presStyleCnt="0"/>
      <dgm:spPr/>
    </dgm:pt>
    <dgm:pt modelId="{19B304C7-80EC-40B9-92A7-EE53243978E3}" type="pres">
      <dgm:prSet presAssocID="{32937003-63D0-4FDC-9666-4B319A3B4D99}" presName="parent1" presStyleLbl="alignNode1" presStyleIdx="2" presStyleCnt="9">
        <dgm:presLayoutVars>
          <dgm:chMax val="1"/>
          <dgm:chPref val="1"/>
          <dgm:bulletEnabled val="1"/>
        </dgm:presLayoutVars>
      </dgm:prSet>
      <dgm:spPr/>
    </dgm:pt>
    <dgm:pt modelId="{37DBEC9D-597E-4952-82EA-61209C019F08}" type="pres">
      <dgm:prSet presAssocID="{32937003-63D0-4FDC-9666-4B319A3B4D99}" presName="Childtext1" presStyleLbl="revTx" presStyleIdx="2" presStyleCnt="9">
        <dgm:presLayoutVars>
          <dgm:bulletEnabled val="1"/>
        </dgm:presLayoutVars>
      </dgm:prSet>
      <dgm:spPr/>
    </dgm:pt>
    <dgm:pt modelId="{136FD358-C3D4-4C41-8E55-CF28497117C0}" type="pres">
      <dgm:prSet presAssocID="{32937003-63D0-4FDC-9666-4B319A3B4D99}" presName="ConnectLine1" presStyleLbl="sibTrans1D1" presStyleIdx="2" presStyleCnt="9"/>
      <dgm:spPr>
        <a:noFill/>
        <a:ln w="6350" cap="flat" cmpd="sng" algn="ctr">
          <a:solidFill>
            <a:srgbClr val="001F60"/>
          </a:solidFill>
          <a:prstDash val="dash"/>
          <a:miter lim="800000"/>
        </a:ln>
        <a:effectLst/>
      </dgm:spPr>
    </dgm:pt>
    <dgm:pt modelId="{961F41ED-A44D-43E9-B176-1927CE1B7AAC}" type="pres">
      <dgm:prSet presAssocID="{32937003-63D0-4FDC-9666-4B319A3B4D99}" presName="ConnectLineEnd1" presStyleLbl="lnNode1" presStyleIdx="2" presStyleCnt="9"/>
      <dgm:spPr>
        <a:solidFill>
          <a:srgbClr val="001F60"/>
        </a:solidFill>
        <a:ln>
          <a:solidFill>
            <a:srgbClr val="001F60"/>
          </a:solidFill>
        </a:ln>
      </dgm:spPr>
    </dgm:pt>
    <dgm:pt modelId="{E84627D0-8B12-49E5-AF85-2A89071E0157}" type="pres">
      <dgm:prSet presAssocID="{32937003-63D0-4FDC-9666-4B319A3B4D99}" presName="EmptyPane1" presStyleCnt="0"/>
      <dgm:spPr/>
    </dgm:pt>
    <dgm:pt modelId="{583FF185-FE9C-4FEF-8747-635280881B61}" type="pres">
      <dgm:prSet presAssocID="{B91B7E21-CF4D-4D85-824E-CFC64C024D9B}" presName="spaceBetweenRectangles1" presStyleCnt="0"/>
      <dgm:spPr/>
    </dgm:pt>
    <dgm:pt modelId="{815B94F3-CB8A-44FC-AA02-A27B7DB616F7}" type="pres">
      <dgm:prSet presAssocID="{501F7932-FC98-41F8-A403-0E1BF3B99541}" presName="composite1" presStyleCnt="0"/>
      <dgm:spPr/>
    </dgm:pt>
    <dgm:pt modelId="{993BF293-EAD5-4DFC-8662-4CFDF4A0D5F3}" type="pres">
      <dgm:prSet presAssocID="{501F7932-FC98-41F8-A403-0E1BF3B99541}" presName="parent1" presStyleLbl="alignNode1" presStyleIdx="3" presStyleCnt="9">
        <dgm:presLayoutVars>
          <dgm:chMax val="1"/>
          <dgm:chPref val="1"/>
          <dgm:bulletEnabled val="1"/>
        </dgm:presLayoutVars>
      </dgm:prSet>
      <dgm:spPr/>
    </dgm:pt>
    <dgm:pt modelId="{C852B168-8BB4-484E-8B45-E818EB563ACD}" type="pres">
      <dgm:prSet presAssocID="{501F7932-FC98-41F8-A403-0E1BF3B99541}" presName="Childtext1" presStyleLbl="revTx" presStyleIdx="3" presStyleCnt="9">
        <dgm:presLayoutVars>
          <dgm:bulletEnabled val="1"/>
        </dgm:presLayoutVars>
      </dgm:prSet>
      <dgm:spPr/>
    </dgm:pt>
    <dgm:pt modelId="{1EE77A18-3D62-421E-872D-1F0DC1BFCC4F}" type="pres">
      <dgm:prSet presAssocID="{501F7932-FC98-41F8-A403-0E1BF3B99541}" presName="ConnectLine1" presStyleLbl="sibTrans1D1" presStyleIdx="3" presStyleCnt="9"/>
      <dgm:spPr>
        <a:noFill/>
        <a:ln w="6350" cap="flat" cmpd="sng" algn="ctr">
          <a:solidFill>
            <a:srgbClr val="68B0AB"/>
          </a:solidFill>
          <a:prstDash val="dash"/>
          <a:miter lim="800000"/>
        </a:ln>
        <a:effectLst/>
      </dgm:spPr>
    </dgm:pt>
    <dgm:pt modelId="{D9DA2A49-8D17-4824-86BD-98B72C3CF269}" type="pres">
      <dgm:prSet presAssocID="{501F7932-FC98-41F8-A403-0E1BF3B99541}" presName="ConnectLineEnd1" presStyleLbl="lnNode1" presStyleIdx="3" presStyleCnt="9"/>
      <dgm:spPr>
        <a:solidFill>
          <a:srgbClr val="68B0AB"/>
        </a:solidFill>
        <a:ln>
          <a:solidFill>
            <a:srgbClr val="68B0AB"/>
          </a:solidFill>
        </a:ln>
      </dgm:spPr>
    </dgm:pt>
    <dgm:pt modelId="{0E6B972F-4FE5-4947-AF45-2CBEB2C2922F}" type="pres">
      <dgm:prSet presAssocID="{501F7932-FC98-41F8-A403-0E1BF3B99541}" presName="EmptyPane1" presStyleCnt="0"/>
      <dgm:spPr/>
    </dgm:pt>
    <dgm:pt modelId="{4169DDFA-34B0-4091-950E-140D665B6360}" type="pres">
      <dgm:prSet presAssocID="{23A4C872-C752-4CBB-B820-62B4332BF915}" presName="spaceBetweenRectangles1" presStyleCnt="0"/>
      <dgm:spPr/>
    </dgm:pt>
    <dgm:pt modelId="{4A4F7C4D-C127-46B7-9D78-DC31D4D01D0D}" type="pres">
      <dgm:prSet presAssocID="{A336B9F0-4628-42CC-8778-7C238F760089}" presName="composite1" presStyleCnt="0"/>
      <dgm:spPr/>
    </dgm:pt>
    <dgm:pt modelId="{9174D865-B074-4541-8434-6DAB84D74850}" type="pres">
      <dgm:prSet presAssocID="{A336B9F0-4628-42CC-8778-7C238F760089}" presName="parent1" presStyleLbl="alignNode1" presStyleIdx="4" presStyleCnt="9">
        <dgm:presLayoutVars>
          <dgm:chMax val="1"/>
          <dgm:chPref val="1"/>
          <dgm:bulletEnabled val="1"/>
        </dgm:presLayoutVars>
      </dgm:prSet>
      <dgm:spPr/>
    </dgm:pt>
    <dgm:pt modelId="{B240B086-CBA3-4C72-84AC-C1AC4E24786A}" type="pres">
      <dgm:prSet presAssocID="{A336B9F0-4628-42CC-8778-7C238F760089}" presName="Childtext1" presStyleLbl="revTx" presStyleIdx="4" presStyleCnt="9">
        <dgm:presLayoutVars>
          <dgm:bulletEnabled val="1"/>
        </dgm:presLayoutVars>
      </dgm:prSet>
      <dgm:spPr/>
    </dgm:pt>
    <dgm:pt modelId="{40D6440E-8C75-4CE0-B68D-0D7D338B208A}" type="pres">
      <dgm:prSet presAssocID="{A336B9F0-4628-42CC-8778-7C238F760089}" presName="ConnectLine1" presStyleLbl="sibTrans1D1" presStyleIdx="4" presStyleCnt="9"/>
      <dgm:spPr>
        <a:noFill/>
        <a:ln w="6350" cap="flat" cmpd="sng" algn="ctr">
          <a:solidFill>
            <a:srgbClr val="68B0AB"/>
          </a:solidFill>
          <a:prstDash val="dash"/>
          <a:miter lim="800000"/>
        </a:ln>
        <a:effectLst/>
      </dgm:spPr>
    </dgm:pt>
    <dgm:pt modelId="{B902014F-A5AF-4EB9-B0BA-2DB93905E7B6}" type="pres">
      <dgm:prSet presAssocID="{A336B9F0-4628-42CC-8778-7C238F760089}" presName="ConnectLineEnd1" presStyleLbl="lnNode1" presStyleIdx="4" presStyleCnt="9"/>
      <dgm:spPr>
        <a:solidFill>
          <a:srgbClr val="68B0AB"/>
        </a:solidFill>
        <a:ln>
          <a:solidFill>
            <a:srgbClr val="68B0AB"/>
          </a:solidFill>
        </a:ln>
      </dgm:spPr>
    </dgm:pt>
    <dgm:pt modelId="{262CC101-A504-4817-9333-2D26AEEFE7FB}" type="pres">
      <dgm:prSet presAssocID="{A336B9F0-4628-42CC-8778-7C238F760089}" presName="EmptyPane1" presStyleCnt="0"/>
      <dgm:spPr/>
    </dgm:pt>
    <dgm:pt modelId="{7D386461-054B-4286-AB75-7A64CAA0C632}" type="pres">
      <dgm:prSet presAssocID="{4B2572B2-EEEC-4C64-A550-F3D53437A0A1}" presName="spaceBetweenRectangles1" presStyleCnt="0"/>
      <dgm:spPr/>
    </dgm:pt>
    <dgm:pt modelId="{7F0CADF0-3892-40FF-9D2A-3B65DF2DBC6E}" type="pres">
      <dgm:prSet presAssocID="{EBF958DC-45D1-43FA-ABB8-1B6A4090878F}" presName="composite1" presStyleCnt="0"/>
      <dgm:spPr/>
    </dgm:pt>
    <dgm:pt modelId="{DDEE2088-9C66-48A1-BA1E-3D701A3ECC0B}" type="pres">
      <dgm:prSet presAssocID="{EBF958DC-45D1-43FA-ABB8-1B6A4090878F}" presName="parent1" presStyleLbl="alignNode1" presStyleIdx="5" presStyleCnt="9">
        <dgm:presLayoutVars>
          <dgm:chMax val="1"/>
          <dgm:chPref val="1"/>
          <dgm:bulletEnabled val="1"/>
        </dgm:presLayoutVars>
      </dgm:prSet>
      <dgm:spPr/>
    </dgm:pt>
    <dgm:pt modelId="{B660B7E2-A753-4C49-8170-860DE8831991}" type="pres">
      <dgm:prSet presAssocID="{EBF958DC-45D1-43FA-ABB8-1B6A4090878F}" presName="Childtext1" presStyleLbl="revTx" presStyleIdx="5" presStyleCnt="9">
        <dgm:presLayoutVars>
          <dgm:bulletEnabled val="1"/>
        </dgm:presLayoutVars>
      </dgm:prSet>
      <dgm:spPr/>
    </dgm:pt>
    <dgm:pt modelId="{85CECBD0-93CC-42AE-8F6F-ECC2ED561C5A}" type="pres">
      <dgm:prSet presAssocID="{EBF958DC-45D1-43FA-ABB8-1B6A4090878F}" presName="ConnectLine1" presStyleLbl="sibTrans1D1" presStyleIdx="5" presStyleCnt="9"/>
      <dgm:spPr>
        <a:noFill/>
        <a:ln w="6350" cap="flat" cmpd="sng" algn="ctr">
          <a:solidFill>
            <a:srgbClr val="00B050"/>
          </a:solidFill>
          <a:prstDash val="dash"/>
          <a:miter lim="800000"/>
        </a:ln>
        <a:effectLst/>
      </dgm:spPr>
    </dgm:pt>
    <dgm:pt modelId="{2785E163-1756-42E5-8694-20F106FC4464}" type="pres">
      <dgm:prSet presAssocID="{EBF958DC-45D1-43FA-ABB8-1B6A4090878F}" presName="ConnectLineEnd1" presStyleLbl="lnNode1" presStyleIdx="5" presStyleCnt="9"/>
      <dgm:spPr>
        <a:solidFill>
          <a:srgbClr val="00B050"/>
        </a:solidFill>
        <a:ln>
          <a:solidFill>
            <a:srgbClr val="00B050"/>
          </a:solidFill>
        </a:ln>
      </dgm:spPr>
    </dgm:pt>
    <dgm:pt modelId="{B45A278E-AEF7-4742-B1A7-8372F4A1E90A}" type="pres">
      <dgm:prSet presAssocID="{EBF958DC-45D1-43FA-ABB8-1B6A4090878F}" presName="EmptyPane1" presStyleCnt="0"/>
      <dgm:spPr/>
    </dgm:pt>
    <dgm:pt modelId="{76EBBE79-F1A6-451B-93B8-1FD5832E5E29}" type="pres">
      <dgm:prSet presAssocID="{ED0076A6-2648-48C2-AA38-D2680A2AC8D8}" presName="spaceBetweenRectangles1" presStyleCnt="0"/>
      <dgm:spPr/>
    </dgm:pt>
    <dgm:pt modelId="{DCA48090-C4C7-4736-BDE0-C25D3FF0EE70}" type="pres">
      <dgm:prSet presAssocID="{3F7A9B2D-A9D1-4AD3-95BC-056D64B1A9BA}" presName="composite1" presStyleCnt="0"/>
      <dgm:spPr/>
    </dgm:pt>
    <dgm:pt modelId="{B29DDCB8-A7CE-4ABC-A765-5150F894F2C7}" type="pres">
      <dgm:prSet presAssocID="{3F7A9B2D-A9D1-4AD3-95BC-056D64B1A9BA}" presName="parent1" presStyleLbl="alignNode1" presStyleIdx="6" presStyleCnt="9">
        <dgm:presLayoutVars>
          <dgm:chMax val="1"/>
          <dgm:chPref val="1"/>
          <dgm:bulletEnabled val="1"/>
        </dgm:presLayoutVars>
      </dgm:prSet>
      <dgm:spPr/>
    </dgm:pt>
    <dgm:pt modelId="{52ED8438-FA17-459A-A442-A91BA1199954}" type="pres">
      <dgm:prSet presAssocID="{3F7A9B2D-A9D1-4AD3-95BC-056D64B1A9BA}" presName="Childtext1" presStyleLbl="revTx" presStyleIdx="6" presStyleCnt="9">
        <dgm:presLayoutVars>
          <dgm:bulletEnabled val="1"/>
        </dgm:presLayoutVars>
      </dgm:prSet>
      <dgm:spPr/>
    </dgm:pt>
    <dgm:pt modelId="{A46217C5-00DB-444E-B512-719594E522DA}" type="pres">
      <dgm:prSet presAssocID="{3F7A9B2D-A9D1-4AD3-95BC-056D64B1A9BA}" presName="ConnectLine1" presStyleLbl="sibTrans1D1" presStyleIdx="6" presStyleCnt="9"/>
      <dgm:spPr>
        <a:noFill/>
        <a:ln w="6350" cap="flat" cmpd="sng" algn="ctr">
          <a:solidFill>
            <a:srgbClr val="00B050"/>
          </a:solidFill>
          <a:prstDash val="dash"/>
          <a:miter lim="800000"/>
        </a:ln>
        <a:effectLst/>
      </dgm:spPr>
    </dgm:pt>
    <dgm:pt modelId="{44CFEE9C-A5F8-4D60-828D-5EE23D37A2AF}" type="pres">
      <dgm:prSet presAssocID="{3F7A9B2D-A9D1-4AD3-95BC-056D64B1A9BA}" presName="ConnectLineEnd1" presStyleLbl="lnNode1" presStyleIdx="6" presStyleCnt="9"/>
      <dgm:spPr>
        <a:solidFill>
          <a:srgbClr val="00B050"/>
        </a:solidFill>
        <a:ln>
          <a:solidFill>
            <a:srgbClr val="00B050"/>
          </a:solidFill>
        </a:ln>
      </dgm:spPr>
    </dgm:pt>
    <dgm:pt modelId="{9FBEA5F3-E30F-4694-A273-A0D892D8227E}" type="pres">
      <dgm:prSet presAssocID="{3F7A9B2D-A9D1-4AD3-95BC-056D64B1A9BA}" presName="EmptyPane1" presStyleCnt="0"/>
      <dgm:spPr/>
    </dgm:pt>
    <dgm:pt modelId="{C95FF623-1D85-45C2-8DDF-4A0CB0BCE42A}" type="pres">
      <dgm:prSet presAssocID="{AD5FE1A1-8009-46F4-933C-69B3995A1C1D}" presName="spaceBetweenRectangles1" presStyleCnt="0"/>
      <dgm:spPr/>
    </dgm:pt>
    <dgm:pt modelId="{1E1A2C0D-A221-4975-B9BE-2C06F3BEB1A6}" type="pres">
      <dgm:prSet presAssocID="{0A6B3A7F-D990-4374-92A8-3085422F9BBF}" presName="composite1" presStyleCnt="0"/>
      <dgm:spPr/>
    </dgm:pt>
    <dgm:pt modelId="{683B96C1-17D5-429D-B75D-F558A960CE0C}" type="pres">
      <dgm:prSet presAssocID="{0A6B3A7F-D990-4374-92A8-3085422F9BBF}" presName="parent1" presStyleLbl="alignNode1" presStyleIdx="7" presStyleCnt="9">
        <dgm:presLayoutVars>
          <dgm:chMax val="1"/>
          <dgm:chPref val="1"/>
          <dgm:bulletEnabled val="1"/>
        </dgm:presLayoutVars>
      </dgm:prSet>
      <dgm:spPr/>
    </dgm:pt>
    <dgm:pt modelId="{DE7E5952-8F38-4C15-BBC0-A95779E9EF38}" type="pres">
      <dgm:prSet presAssocID="{0A6B3A7F-D990-4374-92A8-3085422F9BBF}" presName="Childtext1" presStyleLbl="revTx" presStyleIdx="7" presStyleCnt="9" custLinFactNeighborX="2829" custLinFactNeighborY="14615">
        <dgm:presLayoutVars>
          <dgm:bulletEnabled val="1"/>
        </dgm:presLayoutVars>
      </dgm:prSet>
      <dgm:spPr/>
    </dgm:pt>
    <dgm:pt modelId="{B40660E7-480B-4517-8336-4F32C2822BE3}" type="pres">
      <dgm:prSet presAssocID="{0A6B3A7F-D990-4374-92A8-3085422F9BBF}" presName="ConnectLine1" presStyleLbl="sibTrans1D1" presStyleIdx="7" presStyleCnt="9"/>
      <dgm:spPr>
        <a:noFill/>
        <a:ln w="6350" cap="flat" cmpd="sng" algn="ctr">
          <a:solidFill>
            <a:srgbClr val="00B050"/>
          </a:solidFill>
          <a:prstDash val="dash"/>
          <a:miter lim="800000"/>
        </a:ln>
        <a:effectLst/>
      </dgm:spPr>
    </dgm:pt>
    <dgm:pt modelId="{12D427F4-99AD-4AF6-848D-32B3B6C1983E}" type="pres">
      <dgm:prSet presAssocID="{0A6B3A7F-D990-4374-92A8-3085422F9BBF}" presName="ConnectLineEnd1" presStyleLbl="lnNode1" presStyleIdx="7" presStyleCnt="9"/>
      <dgm:spPr>
        <a:solidFill>
          <a:srgbClr val="00B050"/>
        </a:solidFill>
        <a:ln>
          <a:solidFill>
            <a:srgbClr val="00B050"/>
          </a:solidFill>
        </a:ln>
      </dgm:spPr>
    </dgm:pt>
    <dgm:pt modelId="{4DC2DD4D-783A-4F14-A369-DD175E0F2EED}" type="pres">
      <dgm:prSet presAssocID="{0A6B3A7F-D990-4374-92A8-3085422F9BBF}" presName="EmptyPane1" presStyleCnt="0"/>
      <dgm:spPr/>
    </dgm:pt>
    <dgm:pt modelId="{4DB46ABC-6AFC-4A20-868C-852BFC0F46A7}" type="pres">
      <dgm:prSet presAssocID="{FE791B7C-5C81-47E0-A35E-FA36AB967D9E}" presName="spaceBetweenRectangles1" presStyleCnt="0"/>
      <dgm:spPr/>
    </dgm:pt>
    <dgm:pt modelId="{0A8539D0-CD49-4A94-BD8A-C11C9468C477}" type="pres">
      <dgm:prSet presAssocID="{AEC5F47F-638D-4F1A-A12F-ACAC6CC45D6C}" presName="composite1" presStyleCnt="0"/>
      <dgm:spPr/>
    </dgm:pt>
    <dgm:pt modelId="{5EE58C29-08CA-4BD6-8750-F9DF2B5218E3}" type="pres">
      <dgm:prSet presAssocID="{AEC5F47F-638D-4F1A-A12F-ACAC6CC45D6C}" presName="parent1" presStyleLbl="alignNode1" presStyleIdx="8" presStyleCnt="9">
        <dgm:presLayoutVars>
          <dgm:chMax val="1"/>
          <dgm:chPref val="1"/>
          <dgm:bulletEnabled val="1"/>
        </dgm:presLayoutVars>
      </dgm:prSet>
      <dgm:spPr/>
    </dgm:pt>
    <dgm:pt modelId="{12B3EE98-8EA9-477D-94FC-AC58F05F5524}" type="pres">
      <dgm:prSet presAssocID="{AEC5F47F-638D-4F1A-A12F-ACAC6CC45D6C}" presName="Childtext1" presStyleLbl="revTx" presStyleIdx="8" presStyleCnt="9">
        <dgm:presLayoutVars>
          <dgm:bulletEnabled val="1"/>
        </dgm:presLayoutVars>
      </dgm:prSet>
      <dgm:spPr/>
    </dgm:pt>
    <dgm:pt modelId="{89CC0DF3-1F74-4B31-A04D-4075AB915F19}" type="pres">
      <dgm:prSet presAssocID="{AEC5F47F-638D-4F1A-A12F-ACAC6CC45D6C}" presName="ConnectLine1" presStyleLbl="sibTrans1D1" presStyleIdx="8" presStyleCnt="9"/>
      <dgm:spPr>
        <a:noFill/>
        <a:ln w="6350" cap="flat" cmpd="sng" algn="ctr">
          <a:solidFill>
            <a:srgbClr val="00B050"/>
          </a:solidFill>
          <a:prstDash val="dash"/>
          <a:miter lim="800000"/>
        </a:ln>
        <a:effectLst/>
      </dgm:spPr>
    </dgm:pt>
    <dgm:pt modelId="{84C9B3F7-DF05-4119-B805-6C432BEE03A2}" type="pres">
      <dgm:prSet presAssocID="{AEC5F47F-638D-4F1A-A12F-ACAC6CC45D6C}" presName="ConnectLineEnd1" presStyleLbl="lnNode1" presStyleIdx="8" presStyleCnt="9"/>
      <dgm:spPr>
        <a:solidFill>
          <a:srgbClr val="00B050"/>
        </a:solidFill>
        <a:ln>
          <a:solidFill>
            <a:srgbClr val="00B050"/>
          </a:solidFill>
        </a:ln>
      </dgm:spPr>
    </dgm:pt>
    <dgm:pt modelId="{A1260AED-7704-4BED-AE2B-9CE9E2C353E1}" type="pres">
      <dgm:prSet presAssocID="{AEC5F47F-638D-4F1A-A12F-ACAC6CC45D6C}" presName="EmptyPane1" presStyleCnt="0"/>
      <dgm:spPr/>
    </dgm:pt>
  </dgm:ptLst>
  <dgm:cxnLst>
    <dgm:cxn modelId="{EA607902-9BF8-46FF-AAA2-05968A519330}" srcId="{1933674C-4290-42B7-AF47-6EE61E1C3C28}" destId="{501F7932-FC98-41F8-A403-0E1BF3B99541}" srcOrd="3" destOrd="0" parTransId="{7365D153-497B-49C4-BB32-CAA611F9CA43}" sibTransId="{23A4C872-C752-4CBB-B820-62B4332BF915}"/>
    <dgm:cxn modelId="{4C3A8007-72BC-4708-BCF2-BBDEE0C6F2FE}" srcId="{EBF958DC-45D1-43FA-ABB8-1B6A4090878F}" destId="{B79AA00B-786D-4FC7-A28F-4526FEAEE60E}" srcOrd="0" destOrd="0" parTransId="{3223005F-434F-4025-B744-1090B2BB222D}" sibTransId="{8457B18D-E505-4EB1-B848-317953D6AD9D}"/>
    <dgm:cxn modelId="{5D2EB90D-0059-46DC-8000-E9A3038A55BD}" srcId="{1933674C-4290-42B7-AF47-6EE61E1C3C28}" destId="{0A6B3A7F-D990-4374-92A8-3085422F9BBF}" srcOrd="7" destOrd="0" parTransId="{F4241D84-C1A8-415A-9B97-6953BFBEBE44}" sibTransId="{FE791B7C-5C81-47E0-A35E-FA36AB967D9E}"/>
    <dgm:cxn modelId="{8270740E-7C3A-4CDF-A7EA-9CB3D815369F}" srcId="{1933674C-4290-42B7-AF47-6EE61E1C3C28}" destId="{EBF958DC-45D1-43FA-ABB8-1B6A4090878F}" srcOrd="5" destOrd="0" parTransId="{9712E9A8-3339-4D76-97C6-60301B9584D8}" sibTransId="{ED0076A6-2648-48C2-AA38-D2680A2AC8D8}"/>
    <dgm:cxn modelId="{61E06115-CB46-471D-8AEC-E3C527F7F45E}" type="presOf" srcId="{DF6C0C9C-440A-4BE0-A1D4-BDBBA2121361}" destId="{DE7E5952-8F38-4C15-BBC0-A95779E9EF38}" srcOrd="0" destOrd="0" presId="urn:microsoft.com/office/officeart/2016/7/layout/RoundedRectangleTimeline"/>
    <dgm:cxn modelId="{5F2F8725-58FA-4BD1-80A5-A7675C22875B}" srcId="{1933674C-4290-42B7-AF47-6EE61E1C3C28}" destId="{A336B9F0-4628-42CC-8778-7C238F760089}" srcOrd="4" destOrd="0" parTransId="{6362C794-5B89-4CFA-AB8E-FBA3F222C00F}" sibTransId="{4B2572B2-EEEC-4C64-A550-F3D53437A0A1}"/>
    <dgm:cxn modelId="{1AED472A-22B3-459A-BF1F-C4361CC1C0D6}" type="presOf" srcId="{32937003-63D0-4FDC-9666-4B319A3B4D99}" destId="{19B304C7-80EC-40B9-92A7-EE53243978E3}" srcOrd="0" destOrd="0" presId="urn:microsoft.com/office/officeart/2016/7/layout/RoundedRectangleTimeline"/>
    <dgm:cxn modelId="{C611D62C-3B2D-45C3-A005-27A0E79C96D6}" srcId="{1933674C-4290-42B7-AF47-6EE61E1C3C28}" destId="{AEC5F47F-638D-4F1A-A12F-ACAC6CC45D6C}" srcOrd="8" destOrd="0" parTransId="{4261E339-ED49-4B31-ABAB-E81A9A100A1E}" sibTransId="{FC005279-E39B-42FD-AB00-06BB06754698}"/>
    <dgm:cxn modelId="{12B8DB2C-AB79-409D-AD94-D7D8E43E4475}" srcId="{32937003-63D0-4FDC-9666-4B319A3B4D99}" destId="{BA21C4A7-E6BA-4EFE-8BD0-32F124BDDDBD}" srcOrd="0" destOrd="0" parTransId="{A958AE09-ACE6-4796-A101-3DF379BA7FA9}" sibTransId="{4F01E7F4-2C52-4DED-9A8C-C79A192A618C}"/>
    <dgm:cxn modelId="{A8A6A030-BF59-43CC-8669-579711441C3C}" type="presOf" srcId="{6B06414B-420D-4712-9CE8-3D5FBCA2C995}" destId="{B240B086-CBA3-4C72-84AC-C1AC4E24786A}" srcOrd="0" destOrd="0" presId="urn:microsoft.com/office/officeart/2016/7/layout/RoundedRectangleTimeline"/>
    <dgm:cxn modelId="{803AA432-DE7E-4A42-A264-D4571A15F10E}" type="presOf" srcId="{97D12A91-DFC2-4B57-818E-2D8A1D21340A}" destId="{52ED8438-FA17-459A-A442-A91BA1199954}" srcOrd="0" destOrd="0" presId="urn:microsoft.com/office/officeart/2016/7/layout/RoundedRectangleTimeline"/>
    <dgm:cxn modelId="{F8DFAC5C-63B2-489D-8F06-ED9D379AC6E8}" type="presOf" srcId="{BA21C4A7-E6BA-4EFE-8BD0-32F124BDDDBD}" destId="{37DBEC9D-597E-4952-82EA-61209C019F08}" srcOrd="0" destOrd="0" presId="urn:microsoft.com/office/officeart/2016/7/layout/RoundedRectangleTimeline"/>
    <dgm:cxn modelId="{0EBE815F-D6F5-4BE3-A657-D69FE2BCCABD}" srcId="{1933674C-4290-42B7-AF47-6EE61E1C3C28}" destId="{3F7A9B2D-A9D1-4AD3-95BC-056D64B1A9BA}" srcOrd="6" destOrd="0" parTransId="{2318A579-14C4-4E3A-B398-29BD9B706537}" sibTransId="{AD5FE1A1-8009-46F4-933C-69B3995A1C1D}"/>
    <dgm:cxn modelId="{8951F845-DBAC-4858-9785-95047851C6EB}" type="presOf" srcId="{0A6B3A7F-D990-4374-92A8-3085422F9BBF}" destId="{683B96C1-17D5-429D-B75D-F558A960CE0C}" srcOrd="0" destOrd="0" presId="urn:microsoft.com/office/officeart/2016/7/layout/RoundedRectangleTimeline"/>
    <dgm:cxn modelId="{F0B39549-8619-44D3-AEE3-12D350EB0466}" type="presOf" srcId="{501F7932-FC98-41F8-A403-0E1BF3B99541}" destId="{993BF293-EAD5-4DFC-8662-4CFDF4A0D5F3}" srcOrd="0" destOrd="0" presId="urn:microsoft.com/office/officeart/2016/7/layout/RoundedRectangleTimeline"/>
    <dgm:cxn modelId="{2151ED4A-379D-4A94-8242-A6428EC23F84}" srcId="{1933674C-4290-42B7-AF47-6EE61E1C3C28}" destId="{CE8FFBC8-E2BA-47DA-9E56-BC017E100402}" srcOrd="1" destOrd="0" parTransId="{ED72FA2A-DDBD-4B15-B7C1-ED29DD27BE6C}" sibTransId="{E5DD65D9-4D81-4A76-B0AC-C96CA8632279}"/>
    <dgm:cxn modelId="{93D5AE4C-A171-4DEF-BDE9-820F3A4BC4AD}" type="presOf" srcId="{EB65F050-0746-49E3-9843-A6F45049196C}" destId="{ACC77FD0-3BD4-4641-AF46-F6078067D98A}" srcOrd="0" destOrd="0" presId="urn:microsoft.com/office/officeart/2016/7/layout/RoundedRectangleTimeline"/>
    <dgm:cxn modelId="{1323BA57-CCEE-4199-93E3-7D548800DBD2}" type="presOf" srcId="{EA1395A7-BABE-4F03-AD5D-2266326D3D03}" destId="{B0FBAA9D-3C98-4312-ABD5-AAC590CA1F4B}" srcOrd="0" destOrd="0" presId="urn:microsoft.com/office/officeart/2016/7/layout/RoundedRectangleTimeline"/>
    <dgm:cxn modelId="{1064DC57-9512-47E8-AA38-46AE6C2A3E6C}" srcId="{0A6B3A7F-D990-4374-92A8-3085422F9BBF}" destId="{DF6C0C9C-440A-4BE0-A1D4-BDBBA2121361}" srcOrd="0" destOrd="0" parTransId="{2856E338-3A34-49BC-8BFD-FC5BCD4EDE9B}" sibTransId="{688EFA42-9586-43DB-BABE-9A7E5E2FCB69}"/>
    <dgm:cxn modelId="{B556737F-43F8-4E33-94D3-9A1BEF1F3918}" type="presOf" srcId="{3F7A9B2D-A9D1-4AD3-95BC-056D64B1A9BA}" destId="{B29DDCB8-A7CE-4ABC-A765-5150F894F2C7}" srcOrd="0" destOrd="0" presId="urn:microsoft.com/office/officeart/2016/7/layout/RoundedRectangleTimeline"/>
    <dgm:cxn modelId="{73FCB680-7F3C-4AAA-B799-4BD1D7DA69EA}" srcId="{EA1395A7-BABE-4F03-AD5D-2266326D3D03}" destId="{DB3C4AAD-02E1-403E-95FA-48F65A183B48}" srcOrd="0" destOrd="0" parTransId="{4B5FE38C-4D15-41E9-8BE5-0F6716FBCD39}" sibTransId="{D7623F5D-B2F1-406B-BBB8-E7B25CFED5A3}"/>
    <dgm:cxn modelId="{E8305E88-E65E-4CA4-9FAE-90B55E756116}" type="presOf" srcId="{45D294F7-8786-48D3-9B1C-D35D8773E3D9}" destId="{12B3EE98-8EA9-477D-94FC-AC58F05F5524}" srcOrd="0" destOrd="0" presId="urn:microsoft.com/office/officeart/2016/7/layout/RoundedRectangleTimeline"/>
    <dgm:cxn modelId="{2308BC8D-CF20-4869-81B7-079290F8ECA1}" type="presOf" srcId="{CE8FFBC8-E2BA-47DA-9E56-BC017E100402}" destId="{CA993503-35AA-4DE5-9382-1AE376E2B913}" srcOrd="0" destOrd="0" presId="urn:microsoft.com/office/officeart/2016/7/layout/RoundedRectangleTimeline"/>
    <dgm:cxn modelId="{7D1F6090-CEB5-46F5-B867-92595F0C0FD5}" srcId="{501F7932-FC98-41F8-A403-0E1BF3B99541}" destId="{7D3675B4-3075-46CC-AB37-C0CE38589862}" srcOrd="0" destOrd="0" parTransId="{682E30EA-7044-46DF-A1E1-7B007EE52EFE}" sibTransId="{B71A92AC-EDD9-42DA-B336-12AA86C03EFE}"/>
    <dgm:cxn modelId="{64E67690-7551-467A-B97D-9045B30A9B8B}" srcId="{AEC5F47F-638D-4F1A-A12F-ACAC6CC45D6C}" destId="{45D294F7-8786-48D3-9B1C-D35D8773E3D9}" srcOrd="0" destOrd="0" parTransId="{2BFF1500-0DDA-46AB-8175-942296D6EEFA}" sibTransId="{C161F37E-DE6C-4911-BF1A-EC33FB6D5529}"/>
    <dgm:cxn modelId="{B303B390-890B-42A3-9BB0-9488928A706D}" type="presOf" srcId="{AEC5F47F-638D-4F1A-A12F-ACAC6CC45D6C}" destId="{5EE58C29-08CA-4BD6-8750-F9DF2B5218E3}" srcOrd="0" destOrd="0" presId="urn:microsoft.com/office/officeart/2016/7/layout/RoundedRectangleTimeline"/>
    <dgm:cxn modelId="{D2C10991-31AD-4AD8-886C-7106F963A72C}" srcId="{3F7A9B2D-A9D1-4AD3-95BC-056D64B1A9BA}" destId="{97D12A91-DFC2-4B57-818E-2D8A1D21340A}" srcOrd="0" destOrd="0" parTransId="{9C8787AB-050B-468F-B201-7DB3835F9DE0}" sibTransId="{CE20BF21-5E6D-4A06-91D9-5903A9E72408}"/>
    <dgm:cxn modelId="{936B289A-8359-4154-8F1F-EC4CD43910D4}" type="presOf" srcId="{7D3675B4-3075-46CC-AB37-C0CE38589862}" destId="{C852B168-8BB4-484E-8B45-E818EB563ACD}" srcOrd="0" destOrd="0" presId="urn:microsoft.com/office/officeart/2016/7/layout/RoundedRectangleTimeline"/>
    <dgm:cxn modelId="{EF4F1FA0-B4AA-4FD5-9A1B-26402AA8AF23}" type="presOf" srcId="{EBF958DC-45D1-43FA-ABB8-1B6A4090878F}" destId="{DDEE2088-9C66-48A1-BA1E-3D701A3ECC0B}" srcOrd="0" destOrd="0" presId="urn:microsoft.com/office/officeart/2016/7/layout/RoundedRectangleTimeline"/>
    <dgm:cxn modelId="{F246A4A4-3DAF-4039-B613-5C95166A6E7D}" type="presOf" srcId="{A336B9F0-4628-42CC-8778-7C238F760089}" destId="{9174D865-B074-4541-8434-6DAB84D74850}" srcOrd="0" destOrd="0" presId="urn:microsoft.com/office/officeart/2016/7/layout/RoundedRectangleTimeline"/>
    <dgm:cxn modelId="{87A9F9AE-D585-4F2D-95F6-3362758BAC21}" type="presOf" srcId="{1933674C-4290-42B7-AF47-6EE61E1C3C28}" destId="{582E6E34-7EF7-4E8E-8DC8-4DD5129E11B3}" srcOrd="0" destOrd="0" presId="urn:microsoft.com/office/officeart/2016/7/layout/RoundedRectangleTimeline"/>
    <dgm:cxn modelId="{EABD0CB6-D244-41EB-88D0-0A833939D4EC}" srcId="{CE8FFBC8-E2BA-47DA-9E56-BC017E100402}" destId="{EB65F050-0746-49E3-9843-A6F45049196C}" srcOrd="0" destOrd="0" parTransId="{755BA2A8-D0AB-46C9-B8CF-ADFE64C9E888}" sibTransId="{CB64B9BA-97CD-49C5-B540-E83A1B367D8E}"/>
    <dgm:cxn modelId="{C0B564C0-7625-4991-B453-16CD7D914321}" type="presOf" srcId="{B79AA00B-786D-4FC7-A28F-4526FEAEE60E}" destId="{B660B7E2-A753-4C49-8170-860DE8831991}" srcOrd="0" destOrd="0" presId="urn:microsoft.com/office/officeart/2016/7/layout/RoundedRectangleTimeline"/>
    <dgm:cxn modelId="{03292CC5-215D-4FBC-B827-695EFB4B9954}" srcId="{1933674C-4290-42B7-AF47-6EE61E1C3C28}" destId="{32937003-63D0-4FDC-9666-4B319A3B4D99}" srcOrd="2" destOrd="0" parTransId="{E4BC9C80-2619-4B37-98D9-B853F2A9F1C5}" sibTransId="{B91B7E21-CF4D-4D85-824E-CFC64C024D9B}"/>
    <dgm:cxn modelId="{5ABFC0E1-D710-4637-9EB2-BB07602D92F7}" srcId="{A336B9F0-4628-42CC-8778-7C238F760089}" destId="{6B06414B-420D-4712-9CE8-3D5FBCA2C995}" srcOrd="0" destOrd="0" parTransId="{DE621301-F923-45AC-ADDF-074E0E63E201}" sibTransId="{192804D4-C6DD-4C5A-B317-1077756EFC4D}"/>
    <dgm:cxn modelId="{0B6217EC-19BF-47AB-AA8C-BF268080F830}" srcId="{1933674C-4290-42B7-AF47-6EE61E1C3C28}" destId="{EA1395A7-BABE-4F03-AD5D-2266326D3D03}" srcOrd="0" destOrd="0" parTransId="{399B732E-66B7-4B5D-A1C6-951D63ADD3BB}" sibTransId="{8AFBAEDD-7C30-477A-B532-229E595C8384}"/>
    <dgm:cxn modelId="{AFDDF5ED-3D68-4035-BBA9-97BE25A40E77}" type="presOf" srcId="{DB3C4AAD-02E1-403E-95FA-48F65A183B48}" destId="{9D875279-7F85-451B-AA08-DCB5C149A1E7}" srcOrd="0" destOrd="0" presId="urn:microsoft.com/office/officeart/2016/7/layout/RoundedRectangleTimeline"/>
    <dgm:cxn modelId="{1AA98666-33CE-4B56-9F9F-9C7E04AB3924}" type="presParOf" srcId="{582E6E34-7EF7-4E8E-8DC8-4DD5129E11B3}" destId="{B8FBED92-F528-4356-A34A-87F36E936788}" srcOrd="0" destOrd="0" presId="urn:microsoft.com/office/officeart/2016/7/layout/RoundedRectangleTimeline"/>
    <dgm:cxn modelId="{D1C9A562-68B4-4B14-9386-727C9FAAFA43}" type="presParOf" srcId="{B8FBED92-F528-4356-A34A-87F36E936788}" destId="{B0FBAA9D-3C98-4312-ABD5-AAC590CA1F4B}" srcOrd="0" destOrd="0" presId="urn:microsoft.com/office/officeart/2016/7/layout/RoundedRectangleTimeline"/>
    <dgm:cxn modelId="{A94D5F32-EF27-413A-A668-7D96CBF777EA}" type="presParOf" srcId="{B8FBED92-F528-4356-A34A-87F36E936788}" destId="{9D875279-7F85-451B-AA08-DCB5C149A1E7}" srcOrd="1" destOrd="0" presId="urn:microsoft.com/office/officeart/2016/7/layout/RoundedRectangleTimeline"/>
    <dgm:cxn modelId="{A125EBAD-7DF0-46B0-BA30-799C5A95E4B4}" type="presParOf" srcId="{B8FBED92-F528-4356-A34A-87F36E936788}" destId="{4A3D8B02-1214-46CE-8A43-CE419735DC67}" srcOrd="2" destOrd="0" presId="urn:microsoft.com/office/officeart/2016/7/layout/RoundedRectangleTimeline"/>
    <dgm:cxn modelId="{0191F412-6BB9-4589-860A-D75B7CB59E1F}" type="presParOf" srcId="{B8FBED92-F528-4356-A34A-87F36E936788}" destId="{2C15677D-C56F-46EC-92F5-8582B34D741B}" srcOrd="3" destOrd="0" presId="urn:microsoft.com/office/officeart/2016/7/layout/RoundedRectangleTimeline"/>
    <dgm:cxn modelId="{A286196A-7E58-4E0B-9AC1-FCBF46114865}" type="presParOf" srcId="{B8FBED92-F528-4356-A34A-87F36E936788}" destId="{9374628A-9096-4DE9-BB86-A1F6F3582EB5}" srcOrd="4" destOrd="0" presId="urn:microsoft.com/office/officeart/2016/7/layout/RoundedRectangleTimeline"/>
    <dgm:cxn modelId="{4308575D-93C3-4C55-AE69-8F7199484442}" type="presParOf" srcId="{582E6E34-7EF7-4E8E-8DC8-4DD5129E11B3}" destId="{84E7C9CA-F6AA-46DF-9FA1-C3D3B8BC96BF}" srcOrd="1" destOrd="0" presId="urn:microsoft.com/office/officeart/2016/7/layout/RoundedRectangleTimeline"/>
    <dgm:cxn modelId="{3E8082F0-54C9-46D0-8D70-63BE057CC45E}" type="presParOf" srcId="{582E6E34-7EF7-4E8E-8DC8-4DD5129E11B3}" destId="{B6601F5E-6E50-4D53-B6F8-A4C229DDDE65}" srcOrd="2" destOrd="0" presId="urn:microsoft.com/office/officeart/2016/7/layout/RoundedRectangleTimeline"/>
    <dgm:cxn modelId="{B2DDF5CB-5AA2-4B12-9FD2-87D11011AF53}" type="presParOf" srcId="{B6601F5E-6E50-4D53-B6F8-A4C229DDDE65}" destId="{CA993503-35AA-4DE5-9382-1AE376E2B913}" srcOrd="0" destOrd="0" presId="urn:microsoft.com/office/officeart/2016/7/layout/RoundedRectangleTimeline"/>
    <dgm:cxn modelId="{B7848A28-FF09-418F-A5DE-999118E8C8E0}" type="presParOf" srcId="{B6601F5E-6E50-4D53-B6F8-A4C229DDDE65}" destId="{ACC77FD0-3BD4-4641-AF46-F6078067D98A}" srcOrd="1" destOrd="0" presId="urn:microsoft.com/office/officeart/2016/7/layout/RoundedRectangleTimeline"/>
    <dgm:cxn modelId="{96904BCF-E62D-4A66-8701-1C40710481D5}" type="presParOf" srcId="{B6601F5E-6E50-4D53-B6F8-A4C229DDDE65}" destId="{E1B6C157-3DC8-4DC1-B2D6-0DA5F839CE5B}" srcOrd="2" destOrd="0" presId="urn:microsoft.com/office/officeart/2016/7/layout/RoundedRectangleTimeline"/>
    <dgm:cxn modelId="{CA344F8E-0DCC-4373-ABC1-BD85662C397B}" type="presParOf" srcId="{B6601F5E-6E50-4D53-B6F8-A4C229DDDE65}" destId="{4D28EF5E-2DC7-483D-814A-922388E608E1}" srcOrd="3" destOrd="0" presId="urn:microsoft.com/office/officeart/2016/7/layout/RoundedRectangleTimeline"/>
    <dgm:cxn modelId="{0301A1C4-8BA6-4EDD-9E5D-3312BB2C7659}" type="presParOf" srcId="{B6601F5E-6E50-4D53-B6F8-A4C229DDDE65}" destId="{42930C36-AAA2-4419-A3AD-9E546C999762}" srcOrd="4" destOrd="0" presId="urn:microsoft.com/office/officeart/2016/7/layout/RoundedRectangleTimeline"/>
    <dgm:cxn modelId="{3860DB06-7216-4698-A72D-AE52CC510CE7}" type="presParOf" srcId="{582E6E34-7EF7-4E8E-8DC8-4DD5129E11B3}" destId="{B8F227CD-8022-433C-AD56-963C3E06F0C4}" srcOrd="3" destOrd="0" presId="urn:microsoft.com/office/officeart/2016/7/layout/RoundedRectangleTimeline"/>
    <dgm:cxn modelId="{AA3189C9-914A-4D2D-9A34-FF3A26AE236A}" type="presParOf" srcId="{582E6E34-7EF7-4E8E-8DC8-4DD5129E11B3}" destId="{21BE2410-2557-4311-ABED-4458E88B4538}" srcOrd="4" destOrd="0" presId="urn:microsoft.com/office/officeart/2016/7/layout/RoundedRectangleTimeline"/>
    <dgm:cxn modelId="{5192E39E-2364-4589-9417-E69F023BEF71}" type="presParOf" srcId="{21BE2410-2557-4311-ABED-4458E88B4538}" destId="{19B304C7-80EC-40B9-92A7-EE53243978E3}" srcOrd="0" destOrd="0" presId="urn:microsoft.com/office/officeart/2016/7/layout/RoundedRectangleTimeline"/>
    <dgm:cxn modelId="{D3E6277F-FB69-4B08-B655-5BAE2ED8E85C}" type="presParOf" srcId="{21BE2410-2557-4311-ABED-4458E88B4538}" destId="{37DBEC9D-597E-4952-82EA-61209C019F08}" srcOrd="1" destOrd="0" presId="urn:microsoft.com/office/officeart/2016/7/layout/RoundedRectangleTimeline"/>
    <dgm:cxn modelId="{2ED834CB-7F67-4442-9CD8-D6F27AA3B339}" type="presParOf" srcId="{21BE2410-2557-4311-ABED-4458E88B4538}" destId="{136FD358-C3D4-4C41-8E55-CF28497117C0}" srcOrd="2" destOrd="0" presId="urn:microsoft.com/office/officeart/2016/7/layout/RoundedRectangleTimeline"/>
    <dgm:cxn modelId="{34EA23F7-4398-4072-928B-B415B36B12F9}" type="presParOf" srcId="{21BE2410-2557-4311-ABED-4458E88B4538}" destId="{961F41ED-A44D-43E9-B176-1927CE1B7AAC}" srcOrd="3" destOrd="0" presId="urn:microsoft.com/office/officeart/2016/7/layout/RoundedRectangleTimeline"/>
    <dgm:cxn modelId="{AC2D2974-D5B5-46F5-B248-9E58EABDE594}" type="presParOf" srcId="{21BE2410-2557-4311-ABED-4458E88B4538}" destId="{E84627D0-8B12-49E5-AF85-2A89071E0157}" srcOrd="4" destOrd="0" presId="urn:microsoft.com/office/officeart/2016/7/layout/RoundedRectangleTimeline"/>
    <dgm:cxn modelId="{1D9131F3-8535-48AF-AF13-4F23B0F5EB97}" type="presParOf" srcId="{582E6E34-7EF7-4E8E-8DC8-4DD5129E11B3}" destId="{583FF185-FE9C-4FEF-8747-635280881B61}" srcOrd="5" destOrd="0" presId="urn:microsoft.com/office/officeart/2016/7/layout/RoundedRectangleTimeline"/>
    <dgm:cxn modelId="{F3432BDA-F3DF-4C43-824A-9F137A0B075A}" type="presParOf" srcId="{582E6E34-7EF7-4E8E-8DC8-4DD5129E11B3}" destId="{815B94F3-CB8A-44FC-AA02-A27B7DB616F7}" srcOrd="6" destOrd="0" presId="urn:microsoft.com/office/officeart/2016/7/layout/RoundedRectangleTimeline"/>
    <dgm:cxn modelId="{E8829FBC-C130-453B-8FB9-738A44805DE0}" type="presParOf" srcId="{815B94F3-CB8A-44FC-AA02-A27B7DB616F7}" destId="{993BF293-EAD5-4DFC-8662-4CFDF4A0D5F3}" srcOrd="0" destOrd="0" presId="urn:microsoft.com/office/officeart/2016/7/layout/RoundedRectangleTimeline"/>
    <dgm:cxn modelId="{8F00A983-62F6-477D-8D0A-724989AED172}" type="presParOf" srcId="{815B94F3-CB8A-44FC-AA02-A27B7DB616F7}" destId="{C852B168-8BB4-484E-8B45-E818EB563ACD}" srcOrd="1" destOrd="0" presId="urn:microsoft.com/office/officeart/2016/7/layout/RoundedRectangleTimeline"/>
    <dgm:cxn modelId="{0E9CC94D-622E-4363-9DC1-8959E78C750F}" type="presParOf" srcId="{815B94F3-CB8A-44FC-AA02-A27B7DB616F7}" destId="{1EE77A18-3D62-421E-872D-1F0DC1BFCC4F}" srcOrd="2" destOrd="0" presId="urn:microsoft.com/office/officeart/2016/7/layout/RoundedRectangleTimeline"/>
    <dgm:cxn modelId="{08F3E4E1-6A4F-468F-82E6-5BBECC474FEB}" type="presParOf" srcId="{815B94F3-CB8A-44FC-AA02-A27B7DB616F7}" destId="{D9DA2A49-8D17-4824-86BD-98B72C3CF269}" srcOrd="3" destOrd="0" presId="urn:microsoft.com/office/officeart/2016/7/layout/RoundedRectangleTimeline"/>
    <dgm:cxn modelId="{DA53BFAB-2174-49FD-BCE4-861D82155C88}" type="presParOf" srcId="{815B94F3-CB8A-44FC-AA02-A27B7DB616F7}" destId="{0E6B972F-4FE5-4947-AF45-2CBEB2C2922F}" srcOrd="4" destOrd="0" presId="urn:microsoft.com/office/officeart/2016/7/layout/RoundedRectangleTimeline"/>
    <dgm:cxn modelId="{A6283F9A-ECB4-4D17-AF4D-80165977BF26}" type="presParOf" srcId="{582E6E34-7EF7-4E8E-8DC8-4DD5129E11B3}" destId="{4169DDFA-34B0-4091-950E-140D665B6360}" srcOrd="7" destOrd="0" presId="urn:microsoft.com/office/officeart/2016/7/layout/RoundedRectangleTimeline"/>
    <dgm:cxn modelId="{A97DACBF-1DB0-4033-A0F9-49A3757C0011}" type="presParOf" srcId="{582E6E34-7EF7-4E8E-8DC8-4DD5129E11B3}" destId="{4A4F7C4D-C127-46B7-9D78-DC31D4D01D0D}" srcOrd="8" destOrd="0" presId="urn:microsoft.com/office/officeart/2016/7/layout/RoundedRectangleTimeline"/>
    <dgm:cxn modelId="{567BC958-C2B0-4255-A8D6-C9B9A24BB7EC}" type="presParOf" srcId="{4A4F7C4D-C127-46B7-9D78-DC31D4D01D0D}" destId="{9174D865-B074-4541-8434-6DAB84D74850}" srcOrd="0" destOrd="0" presId="urn:microsoft.com/office/officeart/2016/7/layout/RoundedRectangleTimeline"/>
    <dgm:cxn modelId="{314390AD-1DFC-43C3-B6C6-8D381EB200CC}" type="presParOf" srcId="{4A4F7C4D-C127-46B7-9D78-DC31D4D01D0D}" destId="{B240B086-CBA3-4C72-84AC-C1AC4E24786A}" srcOrd="1" destOrd="0" presId="urn:microsoft.com/office/officeart/2016/7/layout/RoundedRectangleTimeline"/>
    <dgm:cxn modelId="{DB1158A6-156F-4F4A-BF67-68833E8079DA}" type="presParOf" srcId="{4A4F7C4D-C127-46B7-9D78-DC31D4D01D0D}" destId="{40D6440E-8C75-4CE0-B68D-0D7D338B208A}" srcOrd="2" destOrd="0" presId="urn:microsoft.com/office/officeart/2016/7/layout/RoundedRectangleTimeline"/>
    <dgm:cxn modelId="{BBE15234-4756-4152-B45C-F781907C3205}" type="presParOf" srcId="{4A4F7C4D-C127-46B7-9D78-DC31D4D01D0D}" destId="{B902014F-A5AF-4EB9-B0BA-2DB93905E7B6}" srcOrd="3" destOrd="0" presId="urn:microsoft.com/office/officeart/2016/7/layout/RoundedRectangleTimeline"/>
    <dgm:cxn modelId="{FD98D015-9502-4F10-943E-46D7661686F8}" type="presParOf" srcId="{4A4F7C4D-C127-46B7-9D78-DC31D4D01D0D}" destId="{262CC101-A504-4817-9333-2D26AEEFE7FB}" srcOrd="4" destOrd="0" presId="urn:microsoft.com/office/officeart/2016/7/layout/RoundedRectangleTimeline"/>
    <dgm:cxn modelId="{85FF1ADB-A1CE-475E-822D-4BDF8B0B9595}" type="presParOf" srcId="{582E6E34-7EF7-4E8E-8DC8-4DD5129E11B3}" destId="{7D386461-054B-4286-AB75-7A64CAA0C632}" srcOrd="9" destOrd="0" presId="urn:microsoft.com/office/officeart/2016/7/layout/RoundedRectangleTimeline"/>
    <dgm:cxn modelId="{B084692A-BA76-4C97-8310-562C94E10211}" type="presParOf" srcId="{582E6E34-7EF7-4E8E-8DC8-4DD5129E11B3}" destId="{7F0CADF0-3892-40FF-9D2A-3B65DF2DBC6E}" srcOrd="10" destOrd="0" presId="urn:microsoft.com/office/officeart/2016/7/layout/RoundedRectangleTimeline"/>
    <dgm:cxn modelId="{5A5851AD-3FBF-433D-8AB1-47A6344B61DD}" type="presParOf" srcId="{7F0CADF0-3892-40FF-9D2A-3B65DF2DBC6E}" destId="{DDEE2088-9C66-48A1-BA1E-3D701A3ECC0B}" srcOrd="0" destOrd="0" presId="urn:microsoft.com/office/officeart/2016/7/layout/RoundedRectangleTimeline"/>
    <dgm:cxn modelId="{6AB1BCC3-F3FF-4294-AD23-F24C51BCCA5B}" type="presParOf" srcId="{7F0CADF0-3892-40FF-9D2A-3B65DF2DBC6E}" destId="{B660B7E2-A753-4C49-8170-860DE8831991}" srcOrd="1" destOrd="0" presId="urn:microsoft.com/office/officeart/2016/7/layout/RoundedRectangleTimeline"/>
    <dgm:cxn modelId="{68A3482E-948A-4091-934C-0B93F12B3F54}" type="presParOf" srcId="{7F0CADF0-3892-40FF-9D2A-3B65DF2DBC6E}" destId="{85CECBD0-93CC-42AE-8F6F-ECC2ED561C5A}" srcOrd="2" destOrd="0" presId="urn:microsoft.com/office/officeart/2016/7/layout/RoundedRectangleTimeline"/>
    <dgm:cxn modelId="{4DF35B13-5A1F-4F8C-89D8-71804E58F74E}" type="presParOf" srcId="{7F0CADF0-3892-40FF-9D2A-3B65DF2DBC6E}" destId="{2785E163-1756-42E5-8694-20F106FC4464}" srcOrd="3" destOrd="0" presId="urn:microsoft.com/office/officeart/2016/7/layout/RoundedRectangleTimeline"/>
    <dgm:cxn modelId="{04CE3294-C77D-4BDA-BF7F-0D928CD8558E}" type="presParOf" srcId="{7F0CADF0-3892-40FF-9D2A-3B65DF2DBC6E}" destId="{B45A278E-AEF7-4742-B1A7-8372F4A1E90A}" srcOrd="4" destOrd="0" presId="urn:microsoft.com/office/officeart/2016/7/layout/RoundedRectangleTimeline"/>
    <dgm:cxn modelId="{20D228A9-E34D-4C52-9C2E-002E6429060B}" type="presParOf" srcId="{582E6E34-7EF7-4E8E-8DC8-4DD5129E11B3}" destId="{76EBBE79-F1A6-451B-93B8-1FD5832E5E29}" srcOrd="11" destOrd="0" presId="urn:microsoft.com/office/officeart/2016/7/layout/RoundedRectangleTimeline"/>
    <dgm:cxn modelId="{E30B0275-0949-4C5B-AD45-914A5F9ACB08}" type="presParOf" srcId="{582E6E34-7EF7-4E8E-8DC8-4DD5129E11B3}" destId="{DCA48090-C4C7-4736-BDE0-C25D3FF0EE70}" srcOrd="12" destOrd="0" presId="urn:microsoft.com/office/officeart/2016/7/layout/RoundedRectangleTimeline"/>
    <dgm:cxn modelId="{3E77D01E-0E6E-4DCD-BB8D-E67160753941}" type="presParOf" srcId="{DCA48090-C4C7-4736-BDE0-C25D3FF0EE70}" destId="{B29DDCB8-A7CE-4ABC-A765-5150F894F2C7}" srcOrd="0" destOrd="0" presId="urn:microsoft.com/office/officeart/2016/7/layout/RoundedRectangleTimeline"/>
    <dgm:cxn modelId="{668D9369-72D3-434D-A400-771A09FD95BC}" type="presParOf" srcId="{DCA48090-C4C7-4736-BDE0-C25D3FF0EE70}" destId="{52ED8438-FA17-459A-A442-A91BA1199954}" srcOrd="1" destOrd="0" presId="urn:microsoft.com/office/officeart/2016/7/layout/RoundedRectangleTimeline"/>
    <dgm:cxn modelId="{9D4188AF-DF5A-4810-970D-5C3C674BE3DA}" type="presParOf" srcId="{DCA48090-C4C7-4736-BDE0-C25D3FF0EE70}" destId="{A46217C5-00DB-444E-B512-719594E522DA}" srcOrd="2" destOrd="0" presId="urn:microsoft.com/office/officeart/2016/7/layout/RoundedRectangleTimeline"/>
    <dgm:cxn modelId="{D8F8C01C-C1C7-4690-8DC3-B99275E30729}" type="presParOf" srcId="{DCA48090-C4C7-4736-BDE0-C25D3FF0EE70}" destId="{44CFEE9C-A5F8-4D60-828D-5EE23D37A2AF}" srcOrd="3" destOrd="0" presId="urn:microsoft.com/office/officeart/2016/7/layout/RoundedRectangleTimeline"/>
    <dgm:cxn modelId="{1DC1C081-019F-4653-AA0F-6998B0405CD0}" type="presParOf" srcId="{DCA48090-C4C7-4736-BDE0-C25D3FF0EE70}" destId="{9FBEA5F3-E30F-4694-A273-A0D892D8227E}" srcOrd="4" destOrd="0" presId="urn:microsoft.com/office/officeart/2016/7/layout/RoundedRectangleTimeline"/>
    <dgm:cxn modelId="{F2412BDD-6B30-472F-8D51-29848A799FAB}" type="presParOf" srcId="{582E6E34-7EF7-4E8E-8DC8-4DD5129E11B3}" destId="{C95FF623-1D85-45C2-8DDF-4A0CB0BCE42A}" srcOrd="13" destOrd="0" presId="urn:microsoft.com/office/officeart/2016/7/layout/RoundedRectangleTimeline"/>
    <dgm:cxn modelId="{752B845F-25E8-48E2-9BB0-F90785992ECF}" type="presParOf" srcId="{582E6E34-7EF7-4E8E-8DC8-4DD5129E11B3}" destId="{1E1A2C0D-A221-4975-B9BE-2C06F3BEB1A6}" srcOrd="14" destOrd="0" presId="urn:microsoft.com/office/officeart/2016/7/layout/RoundedRectangleTimeline"/>
    <dgm:cxn modelId="{F6A6B956-88E9-448D-A3F2-C1607B32B19F}" type="presParOf" srcId="{1E1A2C0D-A221-4975-B9BE-2C06F3BEB1A6}" destId="{683B96C1-17D5-429D-B75D-F558A960CE0C}" srcOrd="0" destOrd="0" presId="urn:microsoft.com/office/officeart/2016/7/layout/RoundedRectangleTimeline"/>
    <dgm:cxn modelId="{D10BDE5A-D4FF-4999-829E-4DC98BF686B0}" type="presParOf" srcId="{1E1A2C0D-A221-4975-B9BE-2C06F3BEB1A6}" destId="{DE7E5952-8F38-4C15-BBC0-A95779E9EF38}" srcOrd="1" destOrd="0" presId="urn:microsoft.com/office/officeart/2016/7/layout/RoundedRectangleTimeline"/>
    <dgm:cxn modelId="{3F782097-8829-4493-84AB-86A695A5B2DF}" type="presParOf" srcId="{1E1A2C0D-A221-4975-B9BE-2C06F3BEB1A6}" destId="{B40660E7-480B-4517-8336-4F32C2822BE3}" srcOrd="2" destOrd="0" presId="urn:microsoft.com/office/officeart/2016/7/layout/RoundedRectangleTimeline"/>
    <dgm:cxn modelId="{F1155EAA-916D-46BD-B518-966E98F0666B}" type="presParOf" srcId="{1E1A2C0D-A221-4975-B9BE-2C06F3BEB1A6}" destId="{12D427F4-99AD-4AF6-848D-32B3B6C1983E}" srcOrd="3" destOrd="0" presId="urn:microsoft.com/office/officeart/2016/7/layout/RoundedRectangleTimeline"/>
    <dgm:cxn modelId="{A5DF5F2E-237B-4790-AFB7-25C21A5DA131}" type="presParOf" srcId="{1E1A2C0D-A221-4975-B9BE-2C06F3BEB1A6}" destId="{4DC2DD4D-783A-4F14-A369-DD175E0F2EED}" srcOrd="4" destOrd="0" presId="urn:microsoft.com/office/officeart/2016/7/layout/RoundedRectangleTimeline"/>
    <dgm:cxn modelId="{EB16D3DD-0CF9-4178-837E-2BD3EB7CB667}" type="presParOf" srcId="{582E6E34-7EF7-4E8E-8DC8-4DD5129E11B3}" destId="{4DB46ABC-6AFC-4A20-868C-852BFC0F46A7}" srcOrd="15" destOrd="0" presId="urn:microsoft.com/office/officeart/2016/7/layout/RoundedRectangleTimeline"/>
    <dgm:cxn modelId="{A7B09BF9-C651-43C5-B74C-4617F1280DED}" type="presParOf" srcId="{582E6E34-7EF7-4E8E-8DC8-4DD5129E11B3}" destId="{0A8539D0-CD49-4A94-BD8A-C11C9468C477}" srcOrd="16" destOrd="0" presId="urn:microsoft.com/office/officeart/2016/7/layout/RoundedRectangleTimeline"/>
    <dgm:cxn modelId="{D2EE86E8-E191-4882-B312-59BA36DBD44A}" type="presParOf" srcId="{0A8539D0-CD49-4A94-BD8A-C11C9468C477}" destId="{5EE58C29-08CA-4BD6-8750-F9DF2B5218E3}" srcOrd="0" destOrd="0" presId="urn:microsoft.com/office/officeart/2016/7/layout/RoundedRectangleTimeline"/>
    <dgm:cxn modelId="{46DEA43D-5E15-4375-94D8-E430A457D0C4}" type="presParOf" srcId="{0A8539D0-CD49-4A94-BD8A-C11C9468C477}" destId="{12B3EE98-8EA9-477D-94FC-AC58F05F5524}" srcOrd="1" destOrd="0" presId="urn:microsoft.com/office/officeart/2016/7/layout/RoundedRectangleTimeline"/>
    <dgm:cxn modelId="{FA6545B0-4336-4105-A5CC-DEF63AA71030}" type="presParOf" srcId="{0A8539D0-CD49-4A94-BD8A-C11C9468C477}" destId="{89CC0DF3-1F74-4B31-A04D-4075AB915F19}" srcOrd="2" destOrd="0" presId="urn:microsoft.com/office/officeart/2016/7/layout/RoundedRectangleTimeline"/>
    <dgm:cxn modelId="{2A046CB5-5856-41F1-B42D-3DC15B051DF3}" type="presParOf" srcId="{0A8539D0-CD49-4A94-BD8A-C11C9468C477}" destId="{84C9B3F7-DF05-4119-B805-6C432BEE03A2}" srcOrd="3" destOrd="0" presId="urn:microsoft.com/office/officeart/2016/7/layout/RoundedRectangleTimeline"/>
    <dgm:cxn modelId="{BA240642-8ACE-4969-8664-A272D5992125}" type="presParOf" srcId="{0A8539D0-CD49-4A94-BD8A-C11C9468C477}" destId="{A1260AED-7704-4BED-AE2B-9CE9E2C353E1}" srcOrd="4" destOrd="0" presId="urn:microsoft.com/office/officeart/2016/7/layout/RoundedRectangleTimeline"/>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6DA3134-3FF6-4391-8912-E2EA152871B5}"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s-CL"/>
        </a:p>
      </dgm:t>
    </dgm:pt>
    <dgm:pt modelId="{47F8205E-C20E-4162-BF23-A66DD5A0DB11}">
      <dgm:prSet phldrT="[Texto]"/>
      <dgm:spPr/>
      <dgm:t>
        <a:bodyPr/>
        <a:lstStyle/>
        <a:p>
          <a:pPr algn="ctr"/>
          <a:r>
            <a:rPr lang="de-DE" dirty="0" err="1"/>
            <a:t>Testing</a:t>
          </a:r>
          <a:r>
            <a:rPr lang="de-DE" dirty="0"/>
            <a:t> Infrastructure Evaluation: 3CV</a:t>
          </a:r>
          <a:endParaRPr lang="es-CL" dirty="0"/>
        </a:p>
      </dgm:t>
    </dgm:pt>
    <dgm:pt modelId="{AFB25653-331B-4A31-9E92-73F78EC88938}" type="parTrans" cxnId="{C063227D-0D5C-48E6-9028-852DDA42B4DC}">
      <dgm:prSet/>
      <dgm:spPr/>
      <dgm:t>
        <a:bodyPr/>
        <a:lstStyle/>
        <a:p>
          <a:pPr algn="ctr"/>
          <a:endParaRPr lang="es-CL"/>
        </a:p>
      </dgm:t>
    </dgm:pt>
    <dgm:pt modelId="{6AE7D391-EFF1-4010-B94C-68EE685BE086}" type="sibTrans" cxnId="{C063227D-0D5C-48E6-9028-852DDA42B4DC}">
      <dgm:prSet/>
      <dgm:spPr/>
      <dgm:t>
        <a:bodyPr/>
        <a:lstStyle/>
        <a:p>
          <a:pPr algn="ctr"/>
          <a:endParaRPr lang="es-CL"/>
        </a:p>
      </dgm:t>
    </dgm:pt>
    <dgm:pt modelId="{AAA676CB-6DAF-47CB-B3AF-E8C6557BA8F2}">
      <dgm:prSet phldrT="[Texto]"/>
      <dgm:spPr/>
      <dgm:t>
        <a:bodyPr/>
        <a:lstStyle/>
        <a:p>
          <a:pPr algn="ctr"/>
          <a:r>
            <a:rPr lang="de-DE" dirty="0"/>
            <a:t>Test </a:t>
          </a:r>
          <a:r>
            <a:rPr lang="de-DE" dirty="0" err="1"/>
            <a:t>methods</a:t>
          </a:r>
          <a:r>
            <a:rPr lang="de-DE" dirty="0"/>
            <a:t>: international</a:t>
          </a:r>
          <a:endParaRPr lang="es-CL" dirty="0"/>
        </a:p>
      </dgm:t>
    </dgm:pt>
    <dgm:pt modelId="{DD4E279C-8050-4D3E-A453-BFFA565C9B5C}" type="parTrans" cxnId="{F7FBCEF4-D11E-4673-B4F7-4D4F20EF254F}">
      <dgm:prSet/>
      <dgm:spPr/>
      <dgm:t>
        <a:bodyPr/>
        <a:lstStyle/>
        <a:p>
          <a:pPr algn="ctr"/>
          <a:endParaRPr lang="es-CL"/>
        </a:p>
      </dgm:t>
    </dgm:pt>
    <dgm:pt modelId="{76CE465F-8067-449A-BF57-03CF6113F3D4}" type="sibTrans" cxnId="{F7FBCEF4-D11E-4673-B4F7-4D4F20EF254F}">
      <dgm:prSet/>
      <dgm:spPr/>
      <dgm:t>
        <a:bodyPr/>
        <a:lstStyle/>
        <a:p>
          <a:pPr algn="ctr"/>
          <a:endParaRPr lang="es-CL"/>
        </a:p>
      </dgm:t>
    </dgm:pt>
    <dgm:pt modelId="{8300D6B6-9180-4E60-8CA7-E8DF8AAF1F8B}">
      <dgm:prSet phldrT="[Texto]"/>
      <dgm:spPr/>
      <dgm:t>
        <a:bodyPr/>
        <a:lstStyle/>
        <a:p>
          <a:pPr algn="ctr"/>
          <a:r>
            <a:rPr lang="de-DE" b="1" dirty="0"/>
            <a:t>Background </a:t>
          </a:r>
          <a:r>
            <a:rPr lang="de-DE" b="1" dirty="0" err="1"/>
            <a:t>information</a:t>
          </a:r>
          <a:r>
            <a:rPr lang="de-DE" b="1" dirty="0"/>
            <a:t> / DATA</a:t>
          </a:r>
          <a:endParaRPr lang="es-CL" b="1" dirty="0"/>
        </a:p>
      </dgm:t>
    </dgm:pt>
    <dgm:pt modelId="{5F865D30-9B5A-4EDF-B2AE-7888542B0075}" type="parTrans" cxnId="{B0F028C1-BFDE-4230-AB29-D23F802E5743}">
      <dgm:prSet/>
      <dgm:spPr/>
      <dgm:t>
        <a:bodyPr/>
        <a:lstStyle/>
        <a:p>
          <a:pPr algn="ctr"/>
          <a:endParaRPr lang="es-CL"/>
        </a:p>
      </dgm:t>
    </dgm:pt>
    <dgm:pt modelId="{3C6F9981-133E-4AC1-83B9-2D23605D295F}" type="sibTrans" cxnId="{B0F028C1-BFDE-4230-AB29-D23F802E5743}">
      <dgm:prSet/>
      <dgm:spPr/>
      <dgm:t>
        <a:bodyPr/>
        <a:lstStyle/>
        <a:p>
          <a:pPr algn="ctr"/>
          <a:endParaRPr lang="es-CL"/>
        </a:p>
      </dgm:t>
    </dgm:pt>
    <dgm:pt modelId="{1237E638-3716-4456-BC90-8C3AD8E2CD26}">
      <dgm:prSet phldrT="[Texto]"/>
      <dgm:spPr/>
      <dgm:t>
        <a:bodyPr/>
        <a:lstStyle/>
        <a:p>
          <a:pPr algn="ctr"/>
          <a:r>
            <a:rPr lang="de-DE" b="0" dirty="0"/>
            <a:t>International </a:t>
          </a:r>
          <a:r>
            <a:rPr lang="de-DE" b="0" dirty="0" err="1"/>
            <a:t>comparative</a:t>
          </a:r>
          <a:r>
            <a:rPr lang="de-DE" b="0" dirty="0"/>
            <a:t> </a:t>
          </a:r>
          <a:r>
            <a:rPr lang="de-DE" b="0" dirty="0" err="1"/>
            <a:t>experience</a:t>
          </a:r>
          <a:endParaRPr lang="es-CL" b="0" dirty="0"/>
        </a:p>
      </dgm:t>
    </dgm:pt>
    <dgm:pt modelId="{CA51BFD7-7EC4-4C84-AE7A-F9127F476712}" type="parTrans" cxnId="{6BEA96EE-1940-4295-83DC-6714106894A8}">
      <dgm:prSet/>
      <dgm:spPr/>
      <dgm:t>
        <a:bodyPr/>
        <a:lstStyle/>
        <a:p>
          <a:endParaRPr lang="es-CL"/>
        </a:p>
      </dgm:t>
    </dgm:pt>
    <dgm:pt modelId="{DF969C0C-4DF4-48D1-A4D7-97A1B2B10B16}" type="sibTrans" cxnId="{6BEA96EE-1940-4295-83DC-6714106894A8}">
      <dgm:prSet/>
      <dgm:spPr/>
      <dgm:t>
        <a:bodyPr/>
        <a:lstStyle/>
        <a:p>
          <a:endParaRPr lang="es-CL"/>
        </a:p>
      </dgm:t>
    </dgm:pt>
    <dgm:pt modelId="{79ADEE77-2BFF-4701-A655-5553DCA7B8CB}">
      <dgm:prSet phldrT="[Texto]"/>
      <dgm:spPr/>
      <dgm:t>
        <a:bodyPr/>
        <a:lstStyle/>
        <a:p>
          <a:pPr algn="ctr"/>
          <a:r>
            <a:rPr lang="de-DE" b="0" dirty="0" err="1"/>
            <a:t>Regulatory</a:t>
          </a:r>
          <a:r>
            <a:rPr lang="de-DE" b="0" dirty="0"/>
            <a:t> </a:t>
          </a:r>
          <a:r>
            <a:rPr lang="de-DE" b="0" dirty="0" err="1"/>
            <a:t>updates</a:t>
          </a:r>
          <a:endParaRPr lang="es-CL" b="0" dirty="0"/>
        </a:p>
      </dgm:t>
    </dgm:pt>
    <dgm:pt modelId="{5FCBC8C6-F61C-4FF7-A7CB-FB008A4D8682}" type="parTrans" cxnId="{C196A3B3-4020-4FD7-9CE3-E62A174BDCA9}">
      <dgm:prSet/>
      <dgm:spPr/>
      <dgm:t>
        <a:bodyPr/>
        <a:lstStyle/>
        <a:p>
          <a:endParaRPr lang="es-CL"/>
        </a:p>
      </dgm:t>
    </dgm:pt>
    <dgm:pt modelId="{39FE14DD-A3DF-4428-904F-ACA4F10F0963}" type="sibTrans" cxnId="{C196A3B3-4020-4FD7-9CE3-E62A174BDCA9}">
      <dgm:prSet/>
      <dgm:spPr/>
      <dgm:t>
        <a:bodyPr/>
        <a:lstStyle/>
        <a:p>
          <a:endParaRPr lang="es-CL"/>
        </a:p>
      </dgm:t>
    </dgm:pt>
    <dgm:pt modelId="{35932658-E5A6-476F-BE0F-F36A8739032B}" type="pres">
      <dgm:prSet presAssocID="{06DA3134-3FF6-4391-8912-E2EA152871B5}" presName="linear" presStyleCnt="0">
        <dgm:presLayoutVars>
          <dgm:animLvl val="lvl"/>
          <dgm:resizeHandles val="exact"/>
        </dgm:presLayoutVars>
      </dgm:prSet>
      <dgm:spPr/>
    </dgm:pt>
    <dgm:pt modelId="{22BC10CF-09EA-4461-9187-8D5FEC23C76D}" type="pres">
      <dgm:prSet presAssocID="{47F8205E-C20E-4162-BF23-A66DD5A0DB11}" presName="parentText" presStyleLbl="node1" presStyleIdx="0" presStyleCnt="5">
        <dgm:presLayoutVars>
          <dgm:chMax val="0"/>
          <dgm:bulletEnabled val="1"/>
        </dgm:presLayoutVars>
      </dgm:prSet>
      <dgm:spPr/>
    </dgm:pt>
    <dgm:pt modelId="{AF63EBC6-058D-49A3-8713-DB2528DE875C}" type="pres">
      <dgm:prSet presAssocID="{6AE7D391-EFF1-4010-B94C-68EE685BE086}" presName="spacer" presStyleCnt="0"/>
      <dgm:spPr/>
    </dgm:pt>
    <dgm:pt modelId="{BC6A78FD-EE2C-40DE-8974-6B20D7A8C789}" type="pres">
      <dgm:prSet presAssocID="{AAA676CB-6DAF-47CB-B3AF-E8C6557BA8F2}" presName="parentText" presStyleLbl="node1" presStyleIdx="1" presStyleCnt="5">
        <dgm:presLayoutVars>
          <dgm:chMax val="0"/>
          <dgm:bulletEnabled val="1"/>
        </dgm:presLayoutVars>
      </dgm:prSet>
      <dgm:spPr/>
    </dgm:pt>
    <dgm:pt modelId="{30981BE0-7FE1-4B10-AC3D-ED58DFDCDD4D}" type="pres">
      <dgm:prSet presAssocID="{76CE465F-8067-449A-BF57-03CF6113F3D4}" presName="spacer" presStyleCnt="0"/>
      <dgm:spPr/>
    </dgm:pt>
    <dgm:pt modelId="{7B9E6B4B-5653-4461-8CEA-B00B7D291C82}" type="pres">
      <dgm:prSet presAssocID="{8300D6B6-9180-4E60-8CA7-E8DF8AAF1F8B}" presName="parentText" presStyleLbl="node1" presStyleIdx="2" presStyleCnt="5">
        <dgm:presLayoutVars>
          <dgm:chMax val="0"/>
          <dgm:bulletEnabled val="1"/>
        </dgm:presLayoutVars>
      </dgm:prSet>
      <dgm:spPr/>
    </dgm:pt>
    <dgm:pt modelId="{EA70AB58-E7AA-4DB3-A4D9-8C3ACBE59CC1}" type="pres">
      <dgm:prSet presAssocID="{3C6F9981-133E-4AC1-83B9-2D23605D295F}" presName="spacer" presStyleCnt="0"/>
      <dgm:spPr/>
    </dgm:pt>
    <dgm:pt modelId="{C20030A5-D76A-4952-9DB9-E55747874549}" type="pres">
      <dgm:prSet presAssocID="{79ADEE77-2BFF-4701-A655-5553DCA7B8CB}" presName="parentText" presStyleLbl="node1" presStyleIdx="3" presStyleCnt="5">
        <dgm:presLayoutVars>
          <dgm:chMax val="0"/>
          <dgm:bulletEnabled val="1"/>
        </dgm:presLayoutVars>
      </dgm:prSet>
      <dgm:spPr/>
    </dgm:pt>
    <dgm:pt modelId="{E848DDB5-7E20-4B9E-96E4-986094D9AD9B}" type="pres">
      <dgm:prSet presAssocID="{39FE14DD-A3DF-4428-904F-ACA4F10F0963}" presName="spacer" presStyleCnt="0"/>
      <dgm:spPr/>
    </dgm:pt>
    <dgm:pt modelId="{3D17A67A-58EB-4D05-96CA-C1969C596648}" type="pres">
      <dgm:prSet presAssocID="{1237E638-3716-4456-BC90-8C3AD8E2CD26}" presName="parentText" presStyleLbl="node1" presStyleIdx="4" presStyleCnt="5">
        <dgm:presLayoutVars>
          <dgm:chMax val="0"/>
          <dgm:bulletEnabled val="1"/>
        </dgm:presLayoutVars>
      </dgm:prSet>
      <dgm:spPr/>
    </dgm:pt>
  </dgm:ptLst>
  <dgm:cxnLst>
    <dgm:cxn modelId="{D6908C55-6AAE-40A5-B807-BC62B63DE6E2}" type="presOf" srcId="{1237E638-3716-4456-BC90-8C3AD8E2CD26}" destId="{3D17A67A-58EB-4D05-96CA-C1969C596648}" srcOrd="0" destOrd="0" presId="urn:microsoft.com/office/officeart/2005/8/layout/vList2"/>
    <dgm:cxn modelId="{C063227D-0D5C-48E6-9028-852DDA42B4DC}" srcId="{06DA3134-3FF6-4391-8912-E2EA152871B5}" destId="{47F8205E-C20E-4162-BF23-A66DD5A0DB11}" srcOrd="0" destOrd="0" parTransId="{AFB25653-331B-4A31-9E92-73F78EC88938}" sibTransId="{6AE7D391-EFF1-4010-B94C-68EE685BE086}"/>
    <dgm:cxn modelId="{DF11EB80-0FE1-435C-990E-1FBE5C0D1D93}" type="presOf" srcId="{06DA3134-3FF6-4391-8912-E2EA152871B5}" destId="{35932658-E5A6-476F-BE0F-F36A8739032B}" srcOrd="0" destOrd="0" presId="urn:microsoft.com/office/officeart/2005/8/layout/vList2"/>
    <dgm:cxn modelId="{32F4B69B-7EFC-46B0-AA32-0056CD0BC879}" type="presOf" srcId="{47F8205E-C20E-4162-BF23-A66DD5A0DB11}" destId="{22BC10CF-09EA-4461-9187-8D5FEC23C76D}" srcOrd="0" destOrd="0" presId="urn:microsoft.com/office/officeart/2005/8/layout/vList2"/>
    <dgm:cxn modelId="{C196A3B3-4020-4FD7-9CE3-E62A174BDCA9}" srcId="{06DA3134-3FF6-4391-8912-E2EA152871B5}" destId="{79ADEE77-2BFF-4701-A655-5553DCA7B8CB}" srcOrd="3" destOrd="0" parTransId="{5FCBC8C6-F61C-4FF7-A7CB-FB008A4D8682}" sibTransId="{39FE14DD-A3DF-4428-904F-ACA4F10F0963}"/>
    <dgm:cxn modelId="{82B30CBF-6157-4617-92B6-15F8145DF19B}" type="presOf" srcId="{8300D6B6-9180-4E60-8CA7-E8DF8AAF1F8B}" destId="{7B9E6B4B-5653-4461-8CEA-B00B7D291C82}" srcOrd="0" destOrd="0" presId="urn:microsoft.com/office/officeart/2005/8/layout/vList2"/>
    <dgm:cxn modelId="{B0F028C1-BFDE-4230-AB29-D23F802E5743}" srcId="{06DA3134-3FF6-4391-8912-E2EA152871B5}" destId="{8300D6B6-9180-4E60-8CA7-E8DF8AAF1F8B}" srcOrd="2" destOrd="0" parTransId="{5F865D30-9B5A-4EDF-B2AE-7888542B0075}" sibTransId="{3C6F9981-133E-4AC1-83B9-2D23605D295F}"/>
    <dgm:cxn modelId="{FF4CF8D2-13FE-4D37-94AA-2BB796C2DD09}" type="presOf" srcId="{AAA676CB-6DAF-47CB-B3AF-E8C6557BA8F2}" destId="{BC6A78FD-EE2C-40DE-8974-6B20D7A8C789}" srcOrd="0" destOrd="0" presId="urn:microsoft.com/office/officeart/2005/8/layout/vList2"/>
    <dgm:cxn modelId="{6BEA96EE-1940-4295-83DC-6714106894A8}" srcId="{06DA3134-3FF6-4391-8912-E2EA152871B5}" destId="{1237E638-3716-4456-BC90-8C3AD8E2CD26}" srcOrd="4" destOrd="0" parTransId="{CA51BFD7-7EC4-4C84-AE7A-F9127F476712}" sibTransId="{DF969C0C-4DF4-48D1-A4D7-97A1B2B10B16}"/>
    <dgm:cxn modelId="{F7FBCEF4-D11E-4673-B4F7-4D4F20EF254F}" srcId="{06DA3134-3FF6-4391-8912-E2EA152871B5}" destId="{AAA676CB-6DAF-47CB-B3AF-E8C6557BA8F2}" srcOrd="1" destOrd="0" parTransId="{DD4E279C-8050-4D3E-A453-BFFA565C9B5C}" sibTransId="{76CE465F-8067-449A-BF57-03CF6113F3D4}"/>
    <dgm:cxn modelId="{97D8CAFD-40C6-4129-8BFB-54C74B51DD33}" type="presOf" srcId="{79ADEE77-2BFF-4701-A655-5553DCA7B8CB}" destId="{C20030A5-D76A-4952-9DB9-E55747874549}" srcOrd="0" destOrd="0" presId="urn:microsoft.com/office/officeart/2005/8/layout/vList2"/>
    <dgm:cxn modelId="{DB16313F-F275-411A-BB30-1A552A3766D9}" type="presParOf" srcId="{35932658-E5A6-476F-BE0F-F36A8739032B}" destId="{22BC10CF-09EA-4461-9187-8D5FEC23C76D}" srcOrd="0" destOrd="0" presId="urn:microsoft.com/office/officeart/2005/8/layout/vList2"/>
    <dgm:cxn modelId="{A0CB2F46-FD8F-402A-B605-58B0DB830C34}" type="presParOf" srcId="{35932658-E5A6-476F-BE0F-F36A8739032B}" destId="{AF63EBC6-058D-49A3-8713-DB2528DE875C}" srcOrd="1" destOrd="0" presId="urn:microsoft.com/office/officeart/2005/8/layout/vList2"/>
    <dgm:cxn modelId="{372C85A2-CD83-4D62-BC9E-45F5D092D683}" type="presParOf" srcId="{35932658-E5A6-476F-BE0F-F36A8739032B}" destId="{BC6A78FD-EE2C-40DE-8974-6B20D7A8C789}" srcOrd="2" destOrd="0" presId="urn:microsoft.com/office/officeart/2005/8/layout/vList2"/>
    <dgm:cxn modelId="{B68B30E9-2E9A-4F6A-8C20-425DBD5ECC28}" type="presParOf" srcId="{35932658-E5A6-476F-BE0F-F36A8739032B}" destId="{30981BE0-7FE1-4B10-AC3D-ED58DFDCDD4D}" srcOrd="3" destOrd="0" presId="urn:microsoft.com/office/officeart/2005/8/layout/vList2"/>
    <dgm:cxn modelId="{99DE1189-D91C-4A32-BADB-4DDB878FB3B0}" type="presParOf" srcId="{35932658-E5A6-476F-BE0F-F36A8739032B}" destId="{7B9E6B4B-5653-4461-8CEA-B00B7D291C82}" srcOrd="4" destOrd="0" presId="urn:microsoft.com/office/officeart/2005/8/layout/vList2"/>
    <dgm:cxn modelId="{9E818DBF-236E-4B86-BC9E-2B571CBD414E}" type="presParOf" srcId="{35932658-E5A6-476F-BE0F-F36A8739032B}" destId="{EA70AB58-E7AA-4DB3-A4D9-8C3ACBE59CC1}" srcOrd="5" destOrd="0" presId="urn:microsoft.com/office/officeart/2005/8/layout/vList2"/>
    <dgm:cxn modelId="{209F117E-419F-42E0-A3C0-690CAB2725A2}" type="presParOf" srcId="{35932658-E5A6-476F-BE0F-F36A8739032B}" destId="{C20030A5-D76A-4952-9DB9-E55747874549}" srcOrd="6" destOrd="0" presId="urn:microsoft.com/office/officeart/2005/8/layout/vList2"/>
    <dgm:cxn modelId="{FC6C329F-54A6-4A03-B24E-7FDEEDA9BE65}" type="presParOf" srcId="{35932658-E5A6-476F-BE0F-F36A8739032B}" destId="{E848DDB5-7E20-4B9E-96E4-986094D9AD9B}" srcOrd="7" destOrd="0" presId="urn:microsoft.com/office/officeart/2005/8/layout/vList2"/>
    <dgm:cxn modelId="{D8C541C1-7E31-4E81-A0E9-288CC9680308}" type="presParOf" srcId="{35932658-E5A6-476F-BE0F-F36A8739032B}" destId="{3D17A67A-58EB-4D05-96CA-C1969C596648}"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933674C-4290-42B7-AF47-6EE61E1C3C28}" type="doc">
      <dgm:prSet loTypeId="urn:microsoft.com/office/officeart/2016/7/layout/RoundedRectangleTimeline" loCatId="process" qsTypeId="urn:microsoft.com/office/officeart/2005/8/quickstyle/simple1" qsCatId="simple" csTypeId="urn:microsoft.com/office/officeart/2005/8/colors/colorful1" csCatId="colorful" phldr="1"/>
      <dgm:spPr/>
      <dgm:t>
        <a:bodyPr/>
        <a:lstStyle/>
        <a:p>
          <a:endParaRPr lang="en-US"/>
        </a:p>
      </dgm:t>
    </dgm:pt>
    <dgm:pt modelId="{CE8FFBC8-E2BA-47DA-9E56-BC017E100402}">
      <dgm:prSet/>
      <dgm:spPr>
        <a:solidFill>
          <a:srgbClr val="001F60"/>
        </a:solidFill>
        <a:ln>
          <a:solidFill>
            <a:srgbClr val="001F60"/>
          </a:solidFill>
        </a:ln>
      </dgm:spPr>
      <dgm:t>
        <a:bodyPr/>
        <a:lstStyle/>
        <a:p>
          <a:r>
            <a:rPr lang="en-US"/>
            <a:t>Feb. 2013</a:t>
          </a:r>
        </a:p>
      </dgm:t>
    </dgm:pt>
    <dgm:pt modelId="{ED72FA2A-DDBD-4B15-B7C1-ED29DD27BE6C}" type="parTrans" cxnId="{2151ED4A-379D-4A94-8242-A6428EC23F84}">
      <dgm:prSet/>
      <dgm:spPr/>
      <dgm:t>
        <a:bodyPr/>
        <a:lstStyle/>
        <a:p>
          <a:endParaRPr lang="en-US"/>
        </a:p>
      </dgm:t>
    </dgm:pt>
    <dgm:pt modelId="{E5DD65D9-4D81-4A76-B0AC-C96CA8632279}" type="sibTrans" cxnId="{2151ED4A-379D-4A94-8242-A6428EC23F84}">
      <dgm:prSet/>
      <dgm:spPr/>
      <dgm:t>
        <a:bodyPr/>
        <a:lstStyle/>
        <a:p>
          <a:endParaRPr lang="en-US"/>
        </a:p>
      </dgm:t>
    </dgm:pt>
    <dgm:pt modelId="{EB65F050-0746-49E3-9843-A6F45049196C}">
      <dgm:prSet/>
      <dgm:spPr/>
      <dgm:t>
        <a:bodyPr/>
        <a:lstStyle/>
        <a:p>
          <a:r>
            <a:rPr lang="de-DE" dirty="0"/>
            <a:t>Vehicle EE </a:t>
          </a:r>
          <a:r>
            <a:rPr lang="de-DE" dirty="0" err="1"/>
            <a:t>label</a:t>
          </a:r>
          <a:r>
            <a:rPr lang="de-DE" dirty="0"/>
            <a:t> </a:t>
          </a:r>
          <a:r>
            <a:rPr lang="de-DE" dirty="0" err="1"/>
            <a:t>validity</a:t>
          </a:r>
          <a:r>
            <a:rPr lang="de-DE" dirty="0"/>
            <a:t>. Light </a:t>
          </a:r>
          <a:r>
            <a:rPr lang="de-DE" dirty="0" err="1"/>
            <a:t>vehicles</a:t>
          </a:r>
          <a:r>
            <a:rPr lang="de-DE" dirty="0"/>
            <a:t>.</a:t>
          </a:r>
          <a:endParaRPr lang="en-US" dirty="0"/>
        </a:p>
      </dgm:t>
    </dgm:pt>
    <dgm:pt modelId="{755BA2A8-D0AB-46C9-B8CF-ADFE64C9E888}" type="parTrans" cxnId="{EABD0CB6-D244-41EB-88D0-0A833939D4EC}">
      <dgm:prSet/>
      <dgm:spPr/>
      <dgm:t>
        <a:bodyPr/>
        <a:lstStyle/>
        <a:p>
          <a:endParaRPr lang="en-US"/>
        </a:p>
      </dgm:t>
    </dgm:pt>
    <dgm:pt modelId="{CB64B9BA-97CD-49C5-B540-E83A1B367D8E}" type="sibTrans" cxnId="{EABD0CB6-D244-41EB-88D0-0A833939D4EC}">
      <dgm:prSet/>
      <dgm:spPr/>
      <dgm:t>
        <a:bodyPr/>
        <a:lstStyle/>
        <a:p>
          <a:endParaRPr lang="en-US"/>
        </a:p>
      </dgm:t>
    </dgm:pt>
    <dgm:pt modelId="{32937003-63D0-4FDC-9666-4B319A3B4D99}">
      <dgm:prSet/>
      <dgm:spPr>
        <a:solidFill>
          <a:srgbClr val="001F60"/>
        </a:solidFill>
        <a:ln>
          <a:solidFill>
            <a:srgbClr val="001F60"/>
          </a:solidFill>
        </a:ln>
      </dgm:spPr>
      <dgm:t>
        <a:bodyPr/>
        <a:lstStyle/>
        <a:p>
          <a:r>
            <a:rPr lang="en-US"/>
            <a:t>Jun. 2017</a:t>
          </a:r>
        </a:p>
      </dgm:t>
    </dgm:pt>
    <dgm:pt modelId="{E4BC9C80-2619-4B37-98D9-B853F2A9F1C5}" type="parTrans" cxnId="{03292CC5-215D-4FBC-B827-695EFB4B9954}">
      <dgm:prSet/>
      <dgm:spPr/>
      <dgm:t>
        <a:bodyPr/>
        <a:lstStyle/>
        <a:p>
          <a:endParaRPr lang="en-US"/>
        </a:p>
      </dgm:t>
    </dgm:pt>
    <dgm:pt modelId="{B91B7E21-CF4D-4D85-824E-CFC64C024D9B}" type="sibTrans" cxnId="{03292CC5-215D-4FBC-B827-695EFB4B9954}">
      <dgm:prSet/>
      <dgm:spPr/>
      <dgm:t>
        <a:bodyPr/>
        <a:lstStyle/>
        <a:p>
          <a:endParaRPr lang="en-US"/>
        </a:p>
      </dgm:t>
    </dgm:pt>
    <dgm:pt modelId="{BA21C4A7-E6BA-4EFE-8BD0-32F124BDDDBD}">
      <dgm:prSet/>
      <dgm:spPr/>
      <dgm:t>
        <a:bodyPr/>
        <a:lstStyle/>
        <a:p>
          <a:r>
            <a:rPr lang="en-US" dirty="0"/>
            <a:t>Validity of the EE Vehicle Label. Medium vehicles.</a:t>
          </a:r>
        </a:p>
      </dgm:t>
    </dgm:pt>
    <dgm:pt modelId="{A958AE09-ACE6-4796-A101-3DF379BA7FA9}" type="parTrans" cxnId="{12B8DB2C-AB79-409D-AD94-D7D8E43E4475}">
      <dgm:prSet/>
      <dgm:spPr/>
      <dgm:t>
        <a:bodyPr/>
        <a:lstStyle/>
        <a:p>
          <a:endParaRPr lang="en-US"/>
        </a:p>
      </dgm:t>
    </dgm:pt>
    <dgm:pt modelId="{4F01E7F4-2C52-4DED-9A8C-C79A192A618C}" type="sibTrans" cxnId="{12B8DB2C-AB79-409D-AD94-D7D8E43E4475}">
      <dgm:prSet/>
      <dgm:spPr/>
      <dgm:t>
        <a:bodyPr/>
        <a:lstStyle/>
        <a:p>
          <a:endParaRPr lang="en-US"/>
        </a:p>
      </dgm:t>
    </dgm:pt>
    <dgm:pt modelId="{501F7932-FC98-41F8-A403-0E1BF3B99541}">
      <dgm:prSet/>
      <dgm:spPr>
        <a:solidFill>
          <a:srgbClr val="68B0AB"/>
        </a:solidFill>
        <a:ln>
          <a:solidFill>
            <a:srgbClr val="68B0AB"/>
          </a:solidFill>
        </a:ln>
      </dgm:spPr>
      <dgm:t>
        <a:bodyPr/>
        <a:lstStyle/>
        <a:p>
          <a:r>
            <a:rPr lang="en-US" b="0"/>
            <a:t>Sept. 2018</a:t>
          </a:r>
        </a:p>
      </dgm:t>
    </dgm:pt>
    <dgm:pt modelId="{7365D153-497B-49C4-BB32-CAA611F9CA43}" type="parTrans" cxnId="{EA607902-9BF8-46FF-AAA2-05968A519330}">
      <dgm:prSet/>
      <dgm:spPr/>
      <dgm:t>
        <a:bodyPr/>
        <a:lstStyle/>
        <a:p>
          <a:endParaRPr lang="en-US"/>
        </a:p>
      </dgm:t>
    </dgm:pt>
    <dgm:pt modelId="{23A4C872-C752-4CBB-B820-62B4332BF915}" type="sibTrans" cxnId="{EA607902-9BF8-46FF-AAA2-05968A519330}">
      <dgm:prSet/>
      <dgm:spPr/>
      <dgm:t>
        <a:bodyPr/>
        <a:lstStyle/>
        <a:p>
          <a:endParaRPr lang="en-US"/>
        </a:p>
      </dgm:t>
    </dgm:pt>
    <dgm:pt modelId="{7D3675B4-3075-46CC-AB37-C0CE38589862}">
      <dgm:prSet/>
      <dgm:spPr/>
      <dgm:t>
        <a:bodyPr/>
        <a:lstStyle/>
        <a:p>
          <a:r>
            <a:rPr lang="en-US" b="0" dirty="0"/>
            <a:t>Energy efficiency policy entering Congress</a:t>
          </a:r>
        </a:p>
      </dgm:t>
    </dgm:pt>
    <dgm:pt modelId="{682E30EA-7044-46DF-A1E1-7B007EE52EFE}" type="parTrans" cxnId="{7D1F6090-CEB5-46F5-B867-92595F0C0FD5}">
      <dgm:prSet/>
      <dgm:spPr/>
      <dgm:t>
        <a:bodyPr/>
        <a:lstStyle/>
        <a:p>
          <a:endParaRPr lang="en-US"/>
        </a:p>
      </dgm:t>
    </dgm:pt>
    <dgm:pt modelId="{B71A92AC-EDD9-42DA-B336-12AA86C03EFE}" type="sibTrans" cxnId="{7D1F6090-CEB5-46F5-B867-92595F0C0FD5}">
      <dgm:prSet/>
      <dgm:spPr/>
      <dgm:t>
        <a:bodyPr/>
        <a:lstStyle/>
        <a:p>
          <a:endParaRPr lang="en-US"/>
        </a:p>
      </dgm:t>
    </dgm:pt>
    <dgm:pt modelId="{A336B9F0-4628-42CC-8778-7C238F760089}">
      <dgm:prSet/>
      <dgm:spPr>
        <a:solidFill>
          <a:srgbClr val="68B0AB"/>
        </a:solidFill>
        <a:ln>
          <a:solidFill>
            <a:srgbClr val="68B0AB"/>
          </a:solidFill>
        </a:ln>
      </dgm:spPr>
      <dgm:t>
        <a:bodyPr/>
        <a:lstStyle/>
        <a:p>
          <a:r>
            <a:rPr lang="en-US" b="0"/>
            <a:t>Feb. 2021</a:t>
          </a:r>
        </a:p>
      </dgm:t>
    </dgm:pt>
    <dgm:pt modelId="{6362C794-5B89-4CFA-AB8E-FBA3F222C00F}" type="parTrans" cxnId="{5F2F8725-58FA-4BD1-80A5-A7675C22875B}">
      <dgm:prSet/>
      <dgm:spPr/>
      <dgm:t>
        <a:bodyPr/>
        <a:lstStyle/>
        <a:p>
          <a:endParaRPr lang="en-US"/>
        </a:p>
      </dgm:t>
    </dgm:pt>
    <dgm:pt modelId="{4B2572B2-EEEC-4C64-A550-F3D53437A0A1}" type="sibTrans" cxnId="{5F2F8725-58FA-4BD1-80A5-A7675C22875B}">
      <dgm:prSet/>
      <dgm:spPr/>
      <dgm:t>
        <a:bodyPr/>
        <a:lstStyle/>
        <a:p>
          <a:endParaRPr lang="en-US"/>
        </a:p>
      </dgm:t>
    </dgm:pt>
    <dgm:pt modelId="{6B06414B-420D-4712-9CE8-3D5FBCA2C995}">
      <dgm:prSet/>
      <dgm:spPr/>
      <dgm:t>
        <a:bodyPr/>
        <a:lstStyle/>
        <a:p>
          <a:r>
            <a:rPr lang="en-US" b="1" dirty="0"/>
            <a:t>Publication of the Energy Efficiency Law.</a:t>
          </a:r>
        </a:p>
      </dgm:t>
    </dgm:pt>
    <dgm:pt modelId="{DE621301-F923-45AC-ADDF-074E0E63E201}" type="parTrans" cxnId="{5ABFC0E1-D710-4637-9EB2-BB07602D92F7}">
      <dgm:prSet/>
      <dgm:spPr/>
      <dgm:t>
        <a:bodyPr/>
        <a:lstStyle/>
        <a:p>
          <a:endParaRPr lang="en-US"/>
        </a:p>
      </dgm:t>
    </dgm:pt>
    <dgm:pt modelId="{192804D4-C6DD-4C5A-B317-1077756EFC4D}" type="sibTrans" cxnId="{5ABFC0E1-D710-4637-9EB2-BB07602D92F7}">
      <dgm:prSet/>
      <dgm:spPr/>
      <dgm:t>
        <a:bodyPr/>
        <a:lstStyle/>
        <a:p>
          <a:endParaRPr lang="en-US"/>
        </a:p>
      </dgm:t>
    </dgm:pt>
    <dgm:pt modelId="{3F7A9B2D-A9D1-4AD3-95BC-056D64B1A9BA}">
      <dgm:prSet/>
      <dgm:spPr>
        <a:solidFill>
          <a:srgbClr val="00B050"/>
        </a:solidFill>
        <a:ln>
          <a:solidFill>
            <a:srgbClr val="00B050"/>
          </a:solidFill>
        </a:ln>
      </dgm:spPr>
      <dgm:t>
        <a:bodyPr/>
        <a:lstStyle/>
        <a:p>
          <a:r>
            <a:rPr lang="en-US" b="1"/>
            <a:t>2024</a:t>
          </a:r>
        </a:p>
      </dgm:t>
    </dgm:pt>
    <dgm:pt modelId="{2318A579-14C4-4E3A-B398-29BD9B706537}" type="parTrans" cxnId="{0EBE815F-D6F5-4BE3-A657-D69FE2BCCABD}">
      <dgm:prSet/>
      <dgm:spPr/>
      <dgm:t>
        <a:bodyPr/>
        <a:lstStyle/>
        <a:p>
          <a:endParaRPr lang="en-US"/>
        </a:p>
      </dgm:t>
    </dgm:pt>
    <dgm:pt modelId="{AD5FE1A1-8009-46F4-933C-69B3995A1C1D}" type="sibTrans" cxnId="{0EBE815F-D6F5-4BE3-A657-D69FE2BCCABD}">
      <dgm:prSet/>
      <dgm:spPr/>
      <dgm:t>
        <a:bodyPr/>
        <a:lstStyle/>
        <a:p>
          <a:endParaRPr lang="en-US"/>
        </a:p>
      </dgm:t>
    </dgm:pt>
    <dgm:pt modelId="{97D12A91-DFC2-4B57-818E-2D8A1D21340A}">
      <dgm:prSet/>
      <dgm:spPr/>
      <dgm:t>
        <a:bodyPr/>
        <a:lstStyle/>
        <a:p>
          <a:r>
            <a:rPr lang="en-US" b="0" dirty="0"/>
            <a:t>February: light vehicles entry into force.
April: Publication of Resolution No. 14 that sets the standard for medium-sized vehicles</a:t>
          </a:r>
        </a:p>
      </dgm:t>
    </dgm:pt>
    <dgm:pt modelId="{9C8787AB-050B-468F-B201-7DB3835F9DE0}" type="parTrans" cxnId="{D2C10991-31AD-4AD8-886C-7106F963A72C}">
      <dgm:prSet/>
      <dgm:spPr/>
      <dgm:t>
        <a:bodyPr/>
        <a:lstStyle/>
        <a:p>
          <a:endParaRPr lang="en-US"/>
        </a:p>
      </dgm:t>
    </dgm:pt>
    <dgm:pt modelId="{CE20BF21-5E6D-4A06-91D9-5903A9E72408}" type="sibTrans" cxnId="{D2C10991-31AD-4AD8-886C-7106F963A72C}">
      <dgm:prSet/>
      <dgm:spPr/>
      <dgm:t>
        <a:bodyPr/>
        <a:lstStyle/>
        <a:p>
          <a:endParaRPr lang="en-US"/>
        </a:p>
      </dgm:t>
    </dgm:pt>
    <dgm:pt modelId="{AEC5F47F-638D-4F1A-A12F-ACAC6CC45D6C}">
      <dgm:prSet/>
      <dgm:spPr>
        <a:solidFill>
          <a:srgbClr val="00B050"/>
        </a:solidFill>
        <a:ln>
          <a:solidFill>
            <a:srgbClr val="00B050"/>
          </a:solidFill>
        </a:ln>
      </dgm:spPr>
      <dgm:t>
        <a:bodyPr/>
        <a:lstStyle/>
        <a:p>
          <a:r>
            <a:rPr lang="en-US" b="0"/>
            <a:t>2028</a:t>
          </a:r>
        </a:p>
      </dgm:t>
    </dgm:pt>
    <dgm:pt modelId="{4261E339-ED49-4B31-ABAB-E81A9A100A1E}" type="parTrans" cxnId="{C611D62C-3B2D-45C3-A005-27A0E79C96D6}">
      <dgm:prSet/>
      <dgm:spPr/>
      <dgm:t>
        <a:bodyPr/>
        <a:lstStyle/>
        <a:p>
          <a:endParaRPr lang="en-US"/>
        </a:p>
      </dgm:t>
    </dgm:pt>
    <dgm:pt modelId="{FC005279-E39B-42FD-AB00-06BB06754698}" type="sibTrans" cxnId="{C611D62C-3B2D-45C3-A005-27A0E79C96D6}">
      <dgm:prSet/>
      <dgm:spPr/>
      <dgm:t>
        <a:bodyPr/>
        <a:lstStyle/>
        <a:p>
          <a:endParaRPr lang="en-US"/>
        </a:p>
      </dgm:t>
    </dgm:pt>
    <dgm:pt modelId="{45D294F7-8786-48D3-9B1C-D35D8773E3D9}">
      <dgm:prSet/>
      <dgm:spPr/>
      <dgm:t>
        <a:bodyPr/>
        <a:lstStyle/>
        <a:p>
          <a:r>
            <a:rPr lang="en-US" b="0" dirty="0"/>
            <a:t>Deadline for entry into force of the heavy vehicle standard</a:t>
          </a:r>
        </a:p>
      </dgm:t>
    </dgm:pt>
    <dgm:pt modelId="{2BFF1500-0DDA-46AB-8175-942296D6EEFA}" type="parTrans" cxnId="{64E67690-7551-467A-B97D-9045B30A9B8B}">
      <dgm:prSet/>
      <dgm:spPr/>
      <dgm:t>
        <a:bodyPr/>
        <a:lstStyle/>
        <a:p>
          <a:endParaRPr lang="en-US"/>
        </a:p>
      </dgm:t>
    </dgm:pt>
    <dgm:pt modelId="{C161F37E-DE6C-4911-BF1A-EC33FB6D5529}" type="sibTrans" cxnId="{64E67690-7551-467A-B97D-9045B30A9B8B}">
      <dgm:prSet/>
      <dgm:spPr/>
      <dgm:t>
        <a:bodyPr/>
        <a:lstStyle/>
        <a:p>
          <a:endParaRPr lang="en-US"/>
        </a:p>
      </dgm:t>
    </dgm:pt>
    <dgm:pt modelId="{0A6B3A7F-D990-4374-92A8-3085422F9BBF}">
      <dgm:prSet/>
      <dgm:spPr>
        <a:solidFill>
          <a:srgbClr val="00B050"/>
        </a:solidFill>
        <a:ln>
          <a:solidFill>
            <a:srgbClr val="00B050"/>
          </a:solidFill>
        </a:ln>
      </dgm:spPr>
      <dgm:t>
        <a:bodyPr/>
        <a:lstStyle/>
        <a:p>
          <a:r>
            <a:rPr lang="en-US"/>
            <a:t>2026</a:t>
          </a:r>
        </a:p>
      </dgm:t>
    </dgm:pt>
    <dgm:pt modelId="{F4241D84-C1A8-415A-9B97-6953BFBEBE44}" type="parTrans" cxnId="{5D2EB90D-0059-46DC-8000-E9A3038A55BD}">
      <dgm:prSet/>
      <dgm:spPr/>
      <dgm:t>
        <a:bodyPr/>
        <a:lstStyle/>
        <a:p>
          <a:endParaRPr lang="es-CL"/>
        </a:p>
      </dgm:t>
    </dgm:pt>
    <dgm:pt modelId="{FE791B7C-5C81-47E0-A35E-FA36AB967D9E}" type="sibTrans" cxnId="{5D2EB90D-0059-46DC-8000-E9A3038A55BD}">
      <dgm:prSet/>
      <dgm:spPr/>
      <dgm:t>
        <a:bodyPr/>
        <a:lstStyle/>
        <a:p>
          <a:endParaRPr lang="es-CL"/>
        </a:p>
      </dgm:t>
    </dgm:pt>
    <dgm:pt modelId="{DF6C0C9C-440A-4BE0-A1D4-BDBBA2121361}">
      <dgm:prSet/>
      <dgm:spPr/>
      <dgm:t>
        <a:bodyPr/>
        <a:lstStyle/>
        <a:p>
          <a:r>
            <a:rPr lang="en-US" dirty="0"/>
            <a:t>Feb: standard publication v. heavy.
April: entry into force v. medium.</a:t>
          </a:r>
        </a:p>
      </dgm:t>
    </dgm:pt>
    <dgm:pt modelId="{2856E338-3A34-49BC-8BFD-FC5BCD4EDE9B}" type="parTrans" cxnId="{1064DC57-9512-47E8-AA38-46AE6C2A3E6C}">
      <dgm:prSet/>
      <dgm:spPr/>
      <dgm:t>
        <a:bodyPr/>
        <a:lstStyle/>
        <a:p>
          <a:endParaRPr lang="es-CL"/>
        </a:p>
      </dgm:t>
    </dgm:pt>
    <dgm:pt modelId="{688EFA42-9586-43DB-BABE-9A7E5E2FCB69}" type="sibTrans" cxnId="{1064DC57-9512-47E8-AA38-46AE6C2A3E6C}">
      <dgm:prSet/>
      <dgm:spPr/>
      <dgm:t>
        <a:bodyPr/>
        <a:lstStyle/>
        <a:p>
          <a:endParaRPr lang="es-CL"/>
        </a:p>
      </dgm:t>
    </dgm:pt>
    <dgm:pt modelId="{EBF958DC-45D1-43FA-ABB8-1B6A4090878F}">
      <dgm:prSet phldr="0"/>
      <dgm:spPr>
        <a:solidFill>
          <a:srgbClr val="00B050"/>
        </a:solidFill>
        <a:ln>
          <a:solidFill>
            <a:srgbClr val="00B050"/>
          </a:solidFill>
        </a:ln>
      </dgm:spPr>
      <dgm:t>
        <a:bodyPr/>
        <a:lstStyle/>
        <a:p>
          <a:pPr rtl="0"/>
          <a:r>
            <a:rPr lang="en-US" b="0">
              <a:latin typeface="Poppins"/>
            </a:rPr>
            <a:t>Feb. 2022</a:t>
          </a:r>
        </a:p>
      </dgm:t>
    </dgm:pt>
    <dgm:pt modelId="{9712E9A8-3339-4D76-97C6-60301B9584D8}" type="parTrans" cxnId="{8270740E-7C3A-4CDF-A7EA-9CB3D815369F}">
      <dgm:prSet/>
      <dgm:spPr/>
      <dgm:t>
        <a:bodyPr/>
        <a:lstStyle/>
        <a:p>
          <a:endParaRPr lang="es-CL"/>
        </a:p>
      </dgm:t>
    </dgm:pt>
    <dgm:pt modelId="{ED0076A6-2648-48C2-AA38-D2680A2AC8D8}" type="sibTrans" cxnId="{8270740E-7C3A-4CDF-A7EA-9CB3D815369F}">
      <dgm:prSet/>
      <dgm:spPr/>
      <dgm:t>
        <a:bodyPr/>
        <a:lstStyle/>
        <a:p>
          <a:endParaRPr lang="es-CL"/>
        </a:p>
      </dgm:t>
    </dgm:pt>
    <dgm:pt modelId="{B79AA00B-786D-4FC7-A28F-4526FEAEE60E}">
      <dgm:prSet phldr="0"/>
      <dgm:spPr/>
      <dgm:t>
        <a:bodyPr/>
        <a:lstStyle/>
        <a:p>
          <a:pPr rtl="0"/>
          <a:r>
            <a:rPr lang="en-US" dirty="0"/>
            <a:t>Publication of Resolution N°5 that sets standards for light vehicles.</a:t>
          </a:r>
          <a:endParaRPr lang="en-US" b="0" dirty="0">
            <a:latin typeface="Poppins"/>
          </a:endParaRPr>
        </a:p>
      </dgm:t>
    </dgm:pt>
    <dgm:pt modelId="{3223005F-434F-4025-B744-1090B2BB222D}" type="parTrans" cxnId="{4C3A8007-72BC-4708-BCF2-BBDEE0C6F2FE}">
      <dgm:prSet/>
      <dgm:spPr/>
      <dgm:t>
        <a:bodyPr/>
        <a:lstStyle/>
        <a:p>
          <a:endParaRPr lang="es-CL"/>
        </a:p>
      </dgm:t>
    </dgm:pt>
    <dgm:pt modelId="{8457B18D-E505-4EB1-B848-317953D6AD9D}" type="sibTrans" cxnId="{4C3A8007-72BC-4708-BCF2-BBDEE0C6F2FE}">
      <dgm:prSet/>
      <dgm:spPr/>
      <dgm:t>
        <a:bodyPr/>
        <a:lstStyle/>
        <a:p>
          <a:endParaRPr lang="es-CL"/>
        </a:p>
      </dgm:t>
    </dgm:pt>
    <dgm:pt modelId="{EA1395A7-BABE-4F03-AD5D-2266326D3D03}">
      <dgm:prSet/>
      <dgm:spPr>
        <a:solidFill>
          <a:srgbClr val="001F60"/>
        </a:solidFill>
        <a:ln>
          <a:solidFill>
            <a:srgbClr val="001F60"/>
          </a:solidFill>
        </a:ln>
      </dgm:spPr>
      <dgm:t>
        <a:bodyPr/>
        <a:lstStyle/>
        <a:p>
          <a:r>
            <a:rPr lang="en-US" dirty="0"/>
            <a:t>Aug. 2012</a:t>
          </a:r>
        </a:p>
      </dgm:t>
    </dgm:pt>
    <dgm:pt modelId="{399B732E-66B7-4B5D-A1C6-951D63ADD3BB}" type="parTrans" cxnId="{0B6217EC-19BF-47AB-AA8C-BF268080F830}">
      <dgm:prSet/>
      <dgm:spPr/>
      <dgm:t>
        <a:bodyPr/>
        <a:lstStyle/>
        <a:p>
          <a:endParaRPr lang="es-CL"/>
        </a:p>
      </dgm:t>
    </dgm:pt>
    <dgm:pt modelId="{8AFBAEDD-7C30-477A-B532-229E595C8384}" type="sibTrans" cxnId="{0B6217EC-19BF-47AB-AA8C-BF268080F830}">
      <dgm:prSet/>
      <dgm:spPr/>
      <dgm:t>
        <a:bodyPr/>
        <a:lstStyle/>
        <a:p>
          <a:endParaRPr lang="es-CL"/>
        </a:p>
      </dgm:t>
    </dgm:pt>
    <dgm:pt modelId="{DB3C4AAD-02E1-403E-95FA-48F65A183B48}">
      <dgm:prSet custT="1"/>
      <dgm:spPr>
        <a:noFill/>
        <a:ln>
          <a:noFill/>
        </a:ln>
        <a:effectLst/>
      </dgm:spPr>
      <dgm:t>
        <a:bodyPr spcFirstLastPara="0" vert="horz" wrap="square" lIns="0" tIns="0" rIns="0" bIns="99060" numCol="1" spcCol="1270" anchor="b" anchorCtr="1"/>
        <a:lstStyle/>
        <a:p>
          <a:pPr marL="0" lvl="0" indent="0" algn="ctr" defTabSz="577850">
            <a:lnSpc>
              <a:spcPct val="90000"/>
            </a:lnSpc>
            <a:spcBef>
              <a:spcPct val="0"/>
            </a:spcBef>
            <a:spcAft>
              <a:spcPct val="35000"/>
            </a:spcAft>
            <a:buNone/>
          </a:pPr>
          <a:r>
            <a:rPr lang="en-US" sz="1300" kern="1200" dirty="0">
              <a:solidFill>
                <a:srgbClr val="001F60">
                  <a:hueOff val="0"/>
                  <a:satOff val="0"/>
                  <a:lumOff val="0"/>
                  <a:alphaOff val="0"/>
                </a:srgbClr>
              </a:solidFill>
              <a:latin typeface="Century Gothic"/>
              <a:ea typeface="+mn-ea"/>
              <a:cs typeface="+mn-cs"/>
            </a:rPr>
            <a:t>D. 61: Vehicle Labeling Regulations.</a:t>
          </a:r>
        </a:p>
      </dgm:t>
    </dgm:pt>
    <dgm:pt modelId="{4B5FE38C-4D15-41E9-8BE5-0F6716FBCD39}" type="parTrans" cxnId="{73FCB680-7F3C-4AAA-B799-4BD1D7DA69EA}">
      <dgm:prSet/>
      <dgm:spPr/>
      <dgm:t>
        <a:bodyPr/>
        <a:lstStyle/>
        <a:p>
          <a:endParaRPr lang="es-CL"/>
        </a:p>
      </dgm:t>
    </dgm:pt>
    <dgm:pt modelId="{D7623F5D-B2F1-406B-BBB8-E7B25CFED5A3}" type="sibTrans" cxnId="{73FCB680-7F3C-4AAA-B799-4BD1D7DA69EA}">
      <dgm:prSet/>
      <dgm:spPr/>
      <dgm:t>
        <a:bodyPr/>
        <a:lstStyle/>
        <a:p>
          <a:endParaRPr lang="es-CL"/>
        </a:p>
      </dgm:t>
    </dgm:pt>
    <dgm:pt modelId="{582E6E34-7EF7-4E8E-8DC8-4DD5129E11B3}" type="pres">
      <dgm:prSet presAssocID="{1933674C-4290-42B7-AF47-6EE61E1C3C28}" presName="Name0" presStyleCnt="0">
        <dgm:presLayoutVars>
          <dgm:chMax/>
          <dgm:chPref/>
          <dgm:animLvl val="lvl"/>
        </dgm:presLayoutVars>
      </dgm:prSet>
      <dgm:spPr/>
    </dgm:pt>
    <dgm:pt modelId="{B8FBED92-F528-4356-A34A-87F36E936788}" type="pres">
      <dgm:prSet presAssocID="{EA1395A7-BABE-4F03-AD5D-2266326D3D03}" presName="composite1" presStyleCnt="0"/>
      <dgm:spPr/>
    </dgm:pt>
    <dgm:pt modelId="{B0FBAA9D-3C98-4312-ABD5-AAC590CA1F4B}" type="pres">
      <dgm:prSet presAssocID="{EA1395A7-BABE-4F03-AD5D-2266326D3D03}" presName="parent1" presStyleLbl="alignNode1" presStyleIdx="0" presStyleCnt="9">
        <dgm:presLayoutVars>
          <dgm:chMax val="1"/>
          <dgm:chPref val="1"/>
          <dgm:bulletEnabled val="1"/>
        </dgm:presLayoutVars>
      </dgm:prSet>
      <dgm:spPr/>
    </dgm:pt>
    <dgm:pt modelId="{9D875279-7F85-451B-AA08-DCB5C149A1E7}" type="pres">
      <dgm:prSet presAssocID="{EA1395A7-BABE-4F03-AD5D-2266326D3D03}" presName="Childtext1" presStyleLbl="revTx" presStyleIdx="0" presStyleCnt="9">
        <dgm:presLayoutVars>
          <dgm:bulletEnabled val="1"/>
        </dgm:presLayoutVars>
      </dgm:prSet>
      <dgm:spPr>
        <a:xfrm>
          <a:off x="1540" y="0"/>
          <a:ext cx="1812503" cy="1522968"/>
        </a:xfrm>
        <a:prstGeom prst="rect">
          <a:avLst/>
        </a:prstGeom>
      </dgm:spPr>
    </dgm:pt>
    <dgm:pt modelId="{4A3D8B02-1214-46CE-8A43-CE419735DC67}" type="pres">
      <dgm:prSet presAssocID="{EA1395A7-BABE-4F03-AD5D-2266326D3D03}" presName="ConnectLine1" presStyleLbl="sibTrans1D1" presStyleIdx="0" presStyleCnt="9"/>
      <dgm:spPr>
        <a:noFill/>
        <a:ln w="6350" cap="flat" cmpd="sng" algn="ctr">
          <a:solidFill>
            <a:srgbClr val="001F60"/>
          </a:solidFill>
          <a:prstDash val="dash"/>
          <a:miter lim="800000"/>
        </a:ln>
        <a:effectLst/>
      </dgm:spPr>
    </dgm:pt>
    <dgm:pt modelId="{2C15677D-C56F-46EC-92F5-8582B34D741B}" type="pres">
      <dgm:prSet presAssocID="{EA1395A7-BABE-4F03-AD5D-2266326D3D03}" presName="ConnectLineEnd1" presStyleLbl="lnNode1" presStyleIdx="0" presStyleCnt="9"/>
      <dgm:spPr>
        <a:solidFill>
          <a:srgbClr val="001F60"/>
        </a:solidFill>
        <a:ln>
          <a:solidFill>
            <a:srgbClr val="001F60"/>
          </a:solidFill>
        </a:ln>
      </dgm:spPr>
    </dgm:pt>
    <dgm:pt modelId="{9374628A-9096-4DE9-BB86-A1F6F3582EB5}" type="pres">
      <dgm:prSet presAssocID="{EA1395A7-BABE-4F03-AD5D-2266326D3D03}" presName="EmptyPane1" presStyleCnt="0"/>
      <dgm:spPr/>
    </dgm:pt>
    <dgm:pt modelId="{84E7C9CA-F6AA-46DF-9FA1-C3D3B8BC96BF}" type="pres">
      <dgm:prSet presAssocID="{8AFBAEDD-7C30-477A-B532-229E595C8384}" presName="spaceBetweenRectangles1" presStyleCnt="0"/>
      <dgm:spPr/>
    </dgm:pt>
    <dgm:pt modelId="{B6601F5E-6E50-4D53-B6F8-A4C229DDDE65}" type="pres">
      <dgm:prSet presAssocID="{CE8FFBC8-E2BA-47DA-9E56-BC017E100402}" presName="composite1" presStyleCnt="0"/>
      <dgm:spPr/>
    </dgm:pt>
    <dgm:pt modelId="{CA993503-35AA-4DE5-9382-1AE376E2B913}" type="pres">
      <dgm:prSet presAssocID="{CE8FFBC8-E2BA-47DA-9E56-BC017E100402}" presName="parent1" presStyleLbl="alignNode1" presStyleIdx="1" presStyleCnt="9">
        <dgm:presLayoutVars>
          <dgm:chMax val="1"/>
          <dgm:chPref val="1"/>
          <dgm:bulletEnabled val="1"/>
        </dgm:presLayoutVars>
      </dgm:prSet>
      <dgm:spPr/>
    </dgm:pt>
    <dgm:pt modelId="{ACC77FD0-3BD4-4641-AF46-F6078067D98A}" type="pres">
      <dgm:prSet presAssocID="{CE8FFBC8-E2BA-47DA-9E56-BC017E100402}" presName="Childtext1" presStyleLbl="revTx" presStyleIdx="1" presStyleCnt="9">
        <dgm:presLayoutVars>
          <dgm:bulletEnabled val="1"/>
        </dgm:presLayoutVars>
      </dgm:prSet>
      <dgm:spPr/>
    </dgm:pt>
    <dgm:pt modelId="{E1B6C157-3DC8-4DC1-B2D6-0DA5F839CE5B}" type="pres">
      <dgm:prSet presAssocID="{CE8FFBC8-E2BA-47DA-9E56-BC017E100402}" presName="ConnectLine1" presStyleLbl="sibTrans1D1" presStyleIdx="1" presStyleCnt="9"/>
      <dgm:spPr>
        <a:noFill/>
        <a:ln w="6350" cap="flat" cmpd="sng" algn="ctr">
          <a:solidFill>
            <a:srgbClr val="001F60"/>
          </a:solidFill>
          <a:prstDash val="dash"/>
          <a:miter lim="800000"/>
        </a:ln>
        <a:effectLst/>
      </dgm:spPr>
    </dgm:pt>
    <dgm:pt modelId="{4D28EF5E-2DC7-483D-814A-922388E608E1}" type="pres">
      <dgm:prSet presAssocID="{CE8FFBC8-E2BA-47DA-9E56-BC017E100402}" presName="ConnectLineEnd1" presStyleLbl="lnNode1" presStyleIdx="1" presStyleCnt="9"/>
      <dgm:spPr>
        <a:solidFill>
          <a:srgbClr val="001F60"/>
        </a:solidFill>
        <a:ln>
          <a:solidFill>
            <a:srgbClr val="001F60"/>
          </a:solidFill>
        </a:ln>
      </dgm:spPr>
    </dgm:pt>
    <dgm:pt modelId="{42930C36-AAA2-4419-A3AD-9E546C999762}" type="pres">
      <dgm:prSet presAssocID="{CE8FFBC8-E2BA-47DA-9E56-BC017E100402}" presName="EmptyPane1" presStyleCnt="0"/>
      <dgm:spPr/>
    </dgm:pt>
    <dgm:pt modelId="{B8F227CD-8022-433C-AD56-963C3E06F0C4}" type="pres">
      <dgm:prSet presAssocID="{E5DD65D9-4D81-4A76-B0AC-C96CA8632279}" presName="spaceBetweenRectangles1" presStyleCnt="0"/>
      <dgm:spPr/>
    </dgm:pt>
    <dgm:pt modelId="{21BE2410-2557-4311-ABED-4458E88B4538}" type="pres">
      <dgm:prSet presAssocID="{32937003-63D0-4FDC-9666-4B319A3B4D99}" presName="composite1" presStyleCnt="0"/>
      <dgm:spPr/>
    </dgm:pt>
    <dgm:pt modelId="{19B304C7-80EC-40B9-92A7-EE53243978E3}" type="pres">
      <dgm:prSet presAssocID="{32937003-63D0-4FDC-9666-4B319A3B4D99}" presName="parent1" presStyleLbl="alignNode1" presStyleIdx="2" presStyleCnt="9">
        <dgm:presLayoutVars>
          <dgm:chMax val="1"/>
          <dgm:chPref val="1"/>
          <dgm:bulletEnabled val="1"/>
        </dgm:presLayoutVars>
      </dgm:prSet>
      <dgm:spPr/>
    </dgm:pt>
    <dgm:pt modelId="{37DBEC9D-597E-4952-82EA-61209C019F08}" type="pres">
      <dgm:prSet presAssocID="{32937003-63D0-4FDC-9666-4B319A3B4D99}" presName="Childtext1" presStyleLbl="revTx" presStyleIdx="2" presStyleCnt="9">
        <dgm:presLayoutVars>
          <dgm:bulletEnabled val="1"/>
        </dgm:presLayoutVars>
      </dgm:prSet>
      <dgm:spPr/>
    </dgm:pt>
    <dgm:pt modelId="{136FD358-C3D4-4C41-8E55-CF28497117C0}" type="pres">
      <dgm:prSet presAssocID="{32937003-63D0-4FDC-9666-4B319A3B4D99}" presName="ConnectLine1" presStyleLbl="sibTrans1D1" presStyleIdx="2" presStyleCnt="9"/>
      <dgm:spPr>
        <a:noFill/>
        <a:ln w="6350" cap="flat" cmpd="sng" algn="ctr">
          <a:solidFill>
            <a:srgbClr val="001F60"/>
          </a:solidFill>
          <a:prstDash val="dash"/>
          <a:miter lim="800000"/>
        </a:ln>
        <a:effectLst/>
      </dgm:spPr>
    </dgm:pt>
    <dgm:pt modelId="{961F41ED-A44D-43E9-B176-1927CE1B7AAC}" type="pres">
      <dgm:prSet presAssocID="{32937003-63D0-4FDC-9666-4B319A3B4D99}" presName="ConnectLineEnd1" presStyleLbl="lnNode1" presStyleIdx="2" presStyleCnt="9"/>
      <dgm:spPr>
        <a:solidFill>
          <a:srgbClr val="001F60"/>
        </a:solidFill>
        <a:ln>
          <a:solidFill>
            <a:srgbClr val="001F60"/>
          </a:solidFill>
        </a:ln>
      </dgm:spPr>
    </dgm:pt>
    <dgm:pt modelId="{E84627D0-8B12-49E5-AF85-2A89071E0157}" type="pres">
      <dgm:prSet presAssocID="{32937003-63D0-4FDC-9666-4B319A3B4D99}" presName="EmptyPane1" presStyleCnt="0"/>
      <dgm:spPr/>
    </dgm:pt>
    <dgm:pt modelId="{583FF185-FE9C-4FEF-8747-635280881B61}" type="pres">
      <dgm:prSet presAssocID="{B91B7E21-CF4D-4D85-824E-CFC64C024D9B}" presName="spaceBetweenRectangles1" presStyleCnt="0"/>
      <dgm:spPr/>
    </dgm:pt>
    <dgm:pt modelId="{815B94F3-CB8A-44FC-AA02-A27B7DB616F7}" type="pres">
      <dgm:prSet presAssocID="{501F7932-FC98-41F8-A403-0E1BF3B99541}" presName="composite1" presStyleCnt="0"/>
      <dgm:spPr/>
    </dgm:pt>
    <dgm:pt modelId="{993BF293-EAD5-4DFC-8662-4CFDF4A0D5F3}" type="pres">
      <dgm:prSet presAssocID="{501F7932-FC98-41F8-A403-0E1BF3B99541}" presName="parent1" presStyleLbl="alignNode1" presStyleIdx="3" presStyleCnt="9">
        <dgm:presLayoutVars>
          <dgm:chMax val="1"/>
          <dgm:chPref val="1"/>
          <dgm:bulletEnabled val="1"/>
        </dgm:presLayoutVars>
      </dgm:prSet>
      <dgm:spPr/>
    </dgm:pt>
    <dgm:pt modelId="{C852B168-8BB4-484E-8B45-E818EB563ACD}" type="pres">
      <dgm:prSet presAssocID="{501F7932-FC98-41F8-A403-0E1BF3B99541}" presName="Childtext1" presStyleLbl="revTx" presStyleIdx="3" presStyleCnt="9">
        <dgm:presLayoutVars>
          <dgm:bulletEnabled val="1"/>
        </dgm:presLayoutVars>
      </dgm:prSet>
      <dgm:spPr/>
    </dgm:pt>
    <dgm:pt modelId="{1EE77A18-3D62-421E-872D-1F0DC1BFCC4F}" type="pres">
      <dgm:prSet presAssocID="{501F7932-FC98-41F8-A403-0E1BF3B99541}" presName="ConnectLine1" presStyleLbl="sibTrans1D1" presStyleIdx="3" presStyleCnt="9"/>
      <dgm:spPr>
        <a:noFill/>
        <a:ln w="6350" cap="flat" cmpd="sng" algn="ctr">
          <a:solidFill>
            <a:srgbClr val="68B0AB"/>
          </a:solidFill>
          <a:prstDash val="dash"/>
          <a:miter lim="800000"/>
        </a:ln>
        <a:effectLst/>
      </dgm:spPr>
    </dgm:pt>
    <dgm:pt modelId="{D9DA2A49-8D17-4824-86BD-98B72C3CF269}" type="pres">
      <dgm:prSet presAssocID="{501F7932-FC98-41F8-A403-0E1BF3B99541}" presName="ConnectLineEnd1" presStyleLbl="lnNode1" presStyleIdx="3" presStyleCnt="9"/>
      <dgm:spPr>
        <a:solidFill>
          <a:srgbClr val="68B0AB"/>
        </a:solidFill>
        <a:ln>
          <a:solidFill>
            <a:srgbClr val="68B0AB"/>
          </a:solidFill>
        </a:ln>
      </dgm:spPr>
    </dgm:pt>
    <dgm:pt modelId="{0E6B972F-4FE5-4947-AF45-2CBEB2C2922F}" type="pres">
      <dgm:prSet presAssocID="{501F7932-FC98-41F8-A403-0E1BF3B99541}" presName="EmptyPane1" presStyleCnt="0"/>
      <dgm:spPr/>
    </dgm:pt>
    <dgm:pt modelId="{4169DDFA-34B0-4091-950E-140D665B6360}" type="pres">
      <dgm:prSet presAssocID="{23A4C872-C752-4CBB-B820-62B4332BF915}" presName="spaceBetweenRectangles1" presStyleCnt="0"/>
      <dgm:spPr/>
    </dgm:pt>
    <dgm:pt modelId="{4A4F7C4D-C127-46B7-9D78-DC31D4D01D0D}" type="pres">
      <dgm:prSet presAssocID="{A336B9F0-4628-42CC-8778-7C238F760089}" presName="composite1" presStyleCnt="0"/>
      <dgm:spPr/>
    </dgm:pt>
    <dgm:pt modelId="{9174D865-B074-4541-8434-6DAB84D74850}" type="pres">
      <dgm:prSet presAssocID="{A336B9F0-4628-42CC-8778-7C238F760089}" presName="parent1" presStyleLbl="alignNode1" presStyleIdx="4" presStyleCnt="9">
        <dgm:presLayoutVars>
          <dgm:chMax val="1"/>
          <dgm:chPref val="1"/>
          <dgm:bulletEnabled val="1"/>
        </dgm:presLayoutVars>
      </dgm:prSet>
      <dgm:spPr/>
    </dgm:pt>
    <dgm:pt modelId="{B240B086-CBA3-4C72-84AC-C1AC4E24786A}" type="pres">
      <dgm:prSet presAssocID="{A336B9F0-4628-42CC-8778-7C238F760089}" presName="Childtext1" presStyleLbl="revTx" presStyleIdx="4" presStyleCnt="9">
        <dgm:presLayoutVars>
          <dgm:bulletEnabled val="1"/>
        </dgm:presLayoutVars>
      </dgm:prSet>
      <dgm:spPr/>
    </dgm:pt>
    <dgm:pt modelId="{40D6440E-8C75-4CE0-B68D-0D7D338B208A}" type="pres">
      <dgm:prSet presAssocID="{A336B9F0-4628-42CC-8778-7C238F760089}" presName="ConnectLine1" presStyleLbl="sibTrans1D1" presStyleIdx="4" presStyleCnt="9"/>
      <dgm:spPr>
        <a:noFill/>
        <a:ln w="6350" cap="flat" cmpd="sng" algn="ctr">
          <a:solidFill>
            <a:srgbClr val="68B0AB"/>
          </a:solidFill>
          <a:prstDash val="dash"/>
          <a:miter lim="800000"/>
        </a:ln>
        <a:effectLst/>
      </dgm:spPr>
    </dgm:pt>
    <dgm:pt modelId="{B902014F-A5AF-4EB9-B0BA-2DB93905E7B6}" type="pres">
      <dgm:prSet presAssocID="{A336B9F0-4628-42CC-8778-7C238F760089}" presName="ConnectLineEnd1" presStyleLbl="lnNode1" presStyleIdx="4" presStyleCnt="9"/>
      <dgm:spPr>
        <a:solidFill>
          <a:srgbClr val="68B0AB"/>
        </a:solidFill>
        <a:ln>
          <a:solidFill>
            <a:srgbClr val="68B0AB"/>
          </a:solidFill>
        </a:ln>
      </dgm:spPr>
    </dgm:pt>
    <dgm:pt modelId="{262CC101-A504-4817-9333-2D26AEEFE7FB}" type="pres">
      <dgm:prSet presAssocID="{A336B9F0-4628-42CC-8778-7C238F760089}" presName="EmptyPane1" presStyleCnt="0"/>
      <dgm:spPr/>
    </dgm:pt>
    <dgm:pt modelId="{7D386461-054B-4286-AB75-7A64CAA0C632}" type="pres">
      <dgm:prSet presAssocID="{4B2572B2-EEEC-4C64-A550-F3D53437A0A1}" presName="spaceBetweenRectangles1" presStyleCnt="0"/>
      <dgm:spPr/>
    </dgm:pt>
    <dgm:pt modelId="{7F0CADF0-3892-40FF-9D2A-3B65DF2DBC6E}" type="pres">
      <dgm:prSet presAssocID="{EBF958DC-45D1-43FA-ABB8-1B6A4090878F}" presName="composite1" presStyleCnt="0"/>
      <dgm:spPr/>
    </dgm:pt>
    <dgm:pt modelId="{DDEE2088-9C66-48A1-BA1E-3D701A3ECC0B}" type="pres">
      <dgm:prSet presAssocID="{EBF958DC-45D1-43FA-ABB8-1B6A4090878F}" presName="parent1" presStyleLbl="alignNode1" presStyleIdx="5" presStyleCnt="9">
        <dgm:presLayoutVars>
          <dgm:chMax val="1"/>
          <dgm:chPref val="1"/>
          <dgm:bulletEnabled val="1"/>
        </dgm:presLayoutVars>
      </dgm:prSet>
      <dgm:spPr/>
    </dgm:pt>
    <dgm:pt modelId="{B660B7E2-A753-4C49-8170-860DE8831991}" type="pres">
      <dgm:prSet presAssocID="{EBF958DC-45D1-43FA-ABB8-1B6A4090878F}" presName="Childtext1" presStyleLbl="revTx" presStyleIdx="5" presStyleCnt="9">
        <dgm:presLayoutVars>
          <dgm:bulletEnabled val="1"/>
        </dgm:presLayoutVars>
      </dgm:prSet>
      <dgm:spPr/>
    </dgm:pt>
    <dgm:pt modelId="{85CECBD0-93CC-42AE-8F6F-ECC2ED561C5A}" type="pres">
      <dgm:prSet presAssocID="{EBF958DC-45D1-43FA-ABB8-1B6A4090878F}" presName="ConnectLine1" presStyleLbl="sibTrans1D1" presStyleIdx="5" presStyleCnt="9"/>
      <dgm:spPr>
        <a:noFill/>
        <a:ln w="6350" cap="flat" cmpd="sng" algn="ctr">
          <a:solidFill>
            <a:srgbClr val="00B050"/>
          </a:solidFill>
          <a:prstDash val="dash"/>
          <a:miter lim="800000"/>
        </a:ln>
        <a:effectLst/>
      </dgm:spPr>
    </dgm:pt>
    <dgm:pt modelId="{2785E163-1756-42E5-8694-20F106FC4464}" type="pres">
      <dgm:prSet presAssocID="{EBF958DC-45D1-43FA-ABB8-1B6A4090878F}" presName="ConnectLineEnd1" presStyleLbl="lnNode1" presStyleIdx="5" presStyleCnt="9"/>
      <dgm:spPr>
        <a:solidFill>
          <a:srgbClr val="00B050"/>
        </a:solidFill>
        <a:ln>
          <a:solidFill>
            <a:srgbClr val="00B050"/>
          </a:solidFill>
        </a:ln>
      </dgm:spPr>
    </dgm:pt>
    <dgm:pt modelId="{B45A278E-AEF7-4742-B1A7-8372F4A1E90A}" type="pres">
      <dgm:prSet presAssocID="{EBF958DC-45D1-43FA-ABB8-1B6A4090878F}" presName="EmptyPane1" presStyleCnt="0"/>
      <dgm:spPr/>
    </dgm:pt>
    <dgm:pt modelId="{76EBBE79-F1A6-451B-93B8-1FD5832E5E29}" type="pres">
      <dgm:prSet presAssocID="{ED0076A6-2648-48C2-AA38-D2680A2AC8D8}" presName="spaceBetweenRectangles1" presStyleCnt="0"/>
      <dgm:spPr/>
    </dgm:pt>
    <dgm:pt modelId="{DCA48090-C4C7-4736-BDE0-C25D3FF0EE70}" type="pres">
      <dgm:prSet presAssocID="{3F7A9B2D-A9D1-4AD3-95BC-056D64B1A9BA}" presName="composite1" presStyleCnt="0"/>
      <dgm:spPr/>
    </dgm:pt>
    <dgm:pt modelId="{B29DDCB8-A7CE-4ABC-A765-5150F894F2C7}" type="pres">
      <dgm:prSet presAssocID="{3F7A9B2D-A9D1-4AD3-95BC-056D64B1A9BA}" presName="parent1" presStyleLbl="alignNode1" presStyleIdx="6" presStyleCnt="9">
        <dgm:presLayoutVars>
          <dgm:chMax val="1"/>
          <dgm:chPref val="1"/>
          <dgm:bulletEnabled val="1"/>
        </dgm:presLayoutVars>
      </dgm:prSet>
      <dgm:spPr/>
    </dgm:pt>
    <dgm:pt modelId="{52ED8438-FA17-459A-A442-A91BA1199954}" type="pres">
      <dgm:prSet presAssocID="{3F7A9B2D-A9D1-4AD3-95BC-056D64B1A9BA}" presName="Childtext1" presStyleLbl="revTx" presStyleIdx="6" presStyleCnt="9">
        <dgm:presLayoutVars>
          <dgm:bulletEnabled val="1"/>
        </dgm:presLayoutVars>
      </dgm:prSet>
      <dgm:spPr/>
    </dgm:pt>
    <dgm:pt modelId="{A46217C5-00DB-444E-B512-719594E522DA}" type="pres">
      <dgm:prSet presAssocID="{3F7A9B2D-A9D1-4AD3-95BC-056D64B1A9BA}" presName="ConnectLine1" presStyleLbl="sibTrans1D1" presStyleIdx="6" presStyleCnt="9"/>
      <dgm:spPr>
        <a:noFill/>
        <a:ln w="6350" cap="flat" cmpd="sng" algn="ctr">
          <a:solidFill>
            <a:srgbClr val="00B050"/>
          </a:solidFill>
          <a:prstDash val="dash"/>
          <a:miter lim="800000"/>
        </a:ln>
        <a:effectLst/>
      </dgm:spPr>
    </dgm:pt>
    <dgm:pt modelId="{44CFEE9C-A5F8-4D60-828D-5EE23D37A2AF}" type="pres">
      <dgm:prSet presAssocID="{3F7A9B2D-A9D1-4AD3-95BC-056D64B1A9BA}" presName="ConnectLineEnd1" presStyleLbl="lnNode1" presStyleIdx="6" presStyleCnt="9"/>
      <dgm:spPr>
        <a:solidFill>
          <a:srgbClr val="00B050"/>
        </a:solidFill>
        <a:ln>
          <a:solidFill>
            <a:srgbClr val="00B050"/>
          </a:solidFill>
        </a:ln>
      </dgm:spPr>
    </dgm:pt>
    <dgm:pt modelId="{9FBEA5F3-E30F-4694-A273-A0D892D8227E}" type="pres">
      <dgm:prSet presAssocID="{3F7A9B2D-A9D1-4AD3-95BC-056D64B1A9BA}" presName="EmptyPane1" presStyleCnt="0"/>
      <dgm:spPr/>
    </dgm:pt>
    <dgm:pt modelId="{C95FF623-1D85-45C2-8DDF-4A0CB0BCE42A}" type="pres">
      <dgm:prSet presAssocID="{AD5FE1A1-8009-46F4-933C-69B3995A1C1D}" presName="spaceBetweenRectangles1" presStyleCnt="0"/>
      <dgm:spPr/>
    </dgm:pt>
    <dgm:pt modelId="{1E1A2C0D-A221-4975-B9BE-2C06F3BEB1A6}" type="pres">
      <dgm:prSet presAssocID="{0A6B3A7F-D990-4374-92A8-3085422F9BBF}" presName="composite1" presStyleCnt="0"/>
      <dgm:spPr/>
    </dgm:pt>
    <dgm:pt modelId="{683B96C1-17D5-429D-B75D-F558A960CE0C}" type="pres">
      <dgm:prSet presAssocID="{0A6B3A7F-D990-4374-92A8-3085422F9BBF}" presName="parent1" presStyleLbl="alignNode1" presStyleIdx="7" presStyleCnt="9">
        <dgm:presLayoutVars>
          <dgm:chMax val="1"/>
          <dgm:chPref val="1"/>
          <dgm:bulletEnabled val="1"/>
        </dgm:presLayoutVars>
      </dgm:prSet>
      <dgm:spPr/>
    </dgm:pt>
    <dgm:pt modelId="{DE7E5952-8F38-4C15-BBC0-A95779E9EF38}" type="pres">
      <dgm:prSet presAssocID="{0A6B3A7F-D990-4374-92A8-3085422F9BBF}" presName="Childtext1" presStyleLbl="revTx" presStyleIdx="7" presStyleCnt="9" custLinFactNeighborX="2829" custLinFactNeighborY="14615">
        <dgm:presLayoutVars>
          <dgm:bulletEnabled val="1"/>
        </dgm:presLayoutVars>
      </dgm:prSet>
      <dgm:spPr/>
    </dgm:pt>
    <dgm:pt modelId="{B40660E7-480B-4517-8336-4F32C2822BE3}" type="pres">
      <dgm:prSet presAssocID="{0A6B3A7F-D990-4374-92A8-3085422F9BBF}" presName="ConnectLine1" presStyleLbl="sibTrans1D1" presStyleIdx="7" presStyleCnt="9"/>
      <dgm:spPr>
        <a:noFill/>
        <a:ln w="6350" cap="flat" cmpd="sng" algn="ctr">
          <a:solidFill>
            <a:srgbClr val="00B050"/>
          </a:solidFill>
          <a:prstDash val="dash"/>
          <a:miter lim="800000"/>
        </a:ln>
        <a:effectLst/>
      </dgm:spPr>
    </dgm:pt>
    <dgm:pt modelId="{12D427F4-99AD-4AF6-848D-32B3B6C1983E}" type="pres">
      <dgm:prSet presAssocID="{0A6B3A7F-D990-4374-92A8-3085422F9BBF}" presName="ConnectLineEnd1" presStyleLbl="lnNode1" presStyleIdx="7" presStyleCnt="9"/>
      <dgm:spPr>
        <a:solidFill>
          <a:srgbClr val="00B050"/>
        </a:solidFill>
        <a:ln>
          <a:solidFill>
            <a:srgbClr val="00B050"/>
          </a:solidFill>
        </a:ln>
      </dgm:spPr>
    </dgm:pt>
    <dgm:pt modelId="{4DC2DD4D-783A-4F14-A369-DD175E0F2EED}" type="pres">
      <dgm:prSet presAssocID="{0A6B3A7F-D990-4374-92A8-3085422F9BBF}" presName="EmptyPane1" presStyleCnt="0"/>
      <dgm:spPr/>
    </dgm:pt>
    <dgm:pt modelId="{4DB46ABC-6AFC-4A20-868C-852BFC0F46A7}" type="pres">
      <dgm:prSet presAssocID="{FE791B7C-5C81-47E0-A35E-FA36AB967D9E}" presName="spaceBetweenRectangles1" presStyleCnt="0"/>
      <dgm:spPr/>
    </dgm:pt>
    <dgm:pt modelId="{0A8539D0-CD49-4A94-BD8A-C11C9468C477}" type="pres">
      <dgm:prSet presAssocID="{AEC5F47F-638D-4F1A-A12F-ACAC6CC45D6C}" presName="composite1" presStyleCnt="0"/>
      <dgm:spPr/>
    </dgm:pt>
    <dgm:pt modelId="{5EE58C29-08CA-4BD6-8750-F9DF2B5218E3}" type="pres">
      <dgm:prSet presAssocID="{AEC5F47F-638D-4F1A-A12F-ACAC6CC45D6C}" presName="parent1" presStyleLbl="alignNode1" presStyleIdx="8" presStyleCnt="9">
        <dgm:presLayoutVars>
          <dgm:chMax val="1"/>
          <dgm:chPref val="1"/>
          <dgm:bulletEnabled val="1"/>
        </dgm:presLayoutVars>
      </dgm:prSet>
      <dgm:spPr/>
    </dgm:pt>
    <dgm:pt modelId="{12B3EE98-8EA9-477D-94FC-AC58F05F5524}" type="pres">
      <dgm:prSet presAssocID="{AEC5F47F-638D-4F1A-A12F-ACAC6CC45D6C}" presName="Childtext1" presStyleLbl="revTx" presStyleIdx="8" presStyleCnt="9">
        <dgm:presLayoutVars>
          <dgm:bulletEnabled val="1"/>
        </dgm:presLayoutVars>
      </dgm:prSet>
      <dgm:spPr/>
    </dgm:pt>
    <dgm:pt modelId="{89CC0DF3-1F74-4B31-A04D-4075AB915F19}" type="pres">
      <dgm:prSet presAssocID="{AEC5F47F-638D-4F1A-A12F-ACAC6CC45D6C}" presName="ConnectLine1" presStyleLbl="sibTrans1D1" presStyleIdx="8" presStyleCnt="9"/>
      <dgm:spPr>
        <a:noFill/>
        <a:ln w="6350" cap="flat" cmpd="sng" algn="ctr">
          <a:solidFill>
            <a:srgbClr val="00B050"/>
          </a:solidFill>
          <a:prstDash val="dash"/>
          <a:miter lim="800000"/>
        </a:ln>
        <a:effectLst/>
      </dgm:spPr>
    </dgm:pt>
    <dgm:pt modelId="{84C9B3F7-DF05-4119-B805-6C432BEE03A2}" type="pres">
      <dgm:prSet presAssocID="{AEC5F47F-638D-4F1A-A12F-ACAC6CC45D6C}" presName="ConnectLineEnd1" presStyleLbl="lnNode1" presStyleIdx="8" presStyleCnt="9"/>
      <dgm:spPr>
        <a:solidFill>
          <a:srgbClr val="00B050"/>
        </a:solidFill>
        <a:ln>
          <a:solidFill>
            <a:srgbClr val="00B050"/>
          </a:solidFill>
        </a:ln>
      </dgm:spPr>
    </dgm:pt>
    <dgm:pt modelId="{A1260AED-7704-4BED-AE2B-9CE9E2C353E1}" type="pres">
      <dgm:prSet presAssocID="{AEC5F47F-638D-4F1A-A12F-ACAC6CC45D6C}" presName="EmptyPane1" presStyleCnt="0"/>
      <dgm:spPr/>
    </dgm:pt>
  </dgm:ptLst>
  <dgm:cxnLst>
    <dgm:cxn modelId="{EA607902-9BF8-46FF-AAA2-05968A519330}" srcId="{1933674C-4290-42B7-AF47-6EE61E1C3C28}" destId="{501F7932-FC98-41F8-A403-0E1BF3B99541}" srcOrd="3" destOrd="0" parTransId="{7365D153-497B-49C4-BB32-CAA611F9CA43}" sibTransId="{23A4C872-C752-4CBB-B820-62B4332BF915}"/>
    <dgm:cxn modelId="{4C3A8007-72BC-4708-BCF2-BBDEE0C6F2FE}" srcId="{EBF958DC-45D1-43FA-ABB8-1B6A4090878F}" destId="{B79AA00B-786D-4FC7-A28F-4526FEAEE60E}" srcOrd="0" destOrd="0" parTransId="{3223005F-434F-4025-B744-1090B2BB222D}" sibTransId="{8457B18D-E505-4EB1-B848-317953D6AD9D}"/>
    <dgm:cxn modelId="{5D2EB90D-0059-46DC-8000-E9A3038A55BD}" srcId="{1933674C-4290-42B7-AF47-6EE61E1C3C28}" destId="{0A6B3A7F-D990-4374-92A8-3085422F9BBF}" srcOrd="7" destOrd="0" parTransId="{F4241D84-C1A8-415A-9B97-6953BFBEBE44}" sibTransId="{FE791B7C-5C81-47E0-A35E-FA36AB967D9E}"/>
    <dgm:cxn modelId="{8270740E-7C3A-4CDF-A7EA-9CB3D815369F}" srcId="{1933674C-4290-42B7-AF47-6EE61E1C3C28}" destId="{EBF958DC-45D1-43FA-ABB8-1B6A4090878F}" srcOrd="5" destOrd="0" parTransId="{9712E9A8-3339-4D76-97C6-60301B9584D8}" sibTransId="{ED0076A6-2648-48C2-AA38-D2680A2AC8D8}"/>
    <dgm:cxn modelId="{61E06115-CB46-471D-8AEC-E3C527F7F45E}" type="presOf" srcId="{DF6C0C9C-440A-4BE0-A1D4-BDBBA2121361}" destId="{DE7E5952-8F38-4C15-BBC0-A95779E9EF38}" srcOrd="0" destOrd="0" presId="urn:microsoft.com/office/officeart/2016/7/layout/RoundedRectangleTimeline"/>
    <dgm:cxn modelId="{5F2F8725-58FA-4BD1-80A5-A7675C22875B}" srcId="{1933674C-4290-42B7-AF47-6EE61E1C3C28}" destId="{A336B9F0-4628-42CC-8778-7C238F760089}" srcOrd="4" destOrd="0" parTransId="{6362C794-5B89-4CFA-AB8E-FBA3F222C00F}" sibTransId="{4B2572B2-EEEC-4C64-A550-F3D53437A0A1}"/>
    <dgm:cxn modelId="{1AED472A-22B3-459A-BF1F-C4361CC1C0D6}" type="presOf" srcId="{32937003-63D0-4FDC-9666-4B319A3B4D99}" destId="{19B304C7-80EC-40B9-92A7-EE53243978E3}" srcOrd="0" destOrd="0" presId="urn:microsoft.com/office/officeart/2016/7/layout/RoundedRectangleTimeline"/>
    <dgm:cxn modelId="{C611D62C-3B2D-45C3-A005-27A0E79C96D6}" srcId="{1933674C-4290-42B7-AF47-6EE61E1C3C28}" destId="{AEC5F47F-638D-4F1A-A12F-ACAC6CC45D6C}" srcOrd="8" destOrd="0" parTransId="{4261E339-ED49-4B31-ABAB-E81A9A100A1E}" sibTransId="{FC005279-E39B-42FD-AB00-06BB06754698}"/>
    <dgm:cxn modelId="{12B8DB2C-AB79-409D-AD94-D7D8E43E4475}" srcId="{32937003-63D0-4FDC-9666-4B319A3B4D99}" destId="{BA21C4A7-E6BA-4EFE-8BD0-32F124BDDDBD}" srcOrd="0" destOrd="0" parTransId="{A958AE09-ACE6-4796-A101-3DF379BA7FA9}" sibTransId="{4F01E7F4-2C52-4DED-9A8C-C79A192A618C}"/>
    <dgm:cxn modelId="{A8A6A030-BF59-43CC-8669-579711441C3C}" type="presOf" srcId="{6B06414B-420D-4712-9CE8-3D5FBCA2C995}" destId="{B240B086-CBA3-4C72-84AC-C1AC4E24786A}" srcOrd="0" destOrd="0" presId="urn:microsoft.com/office/officeart/2016/7/layout/RoundedRectangleTimeline"/>
    <dgm:cxn modelId="{803AA432-DE7E-4A42-A264-D4571A15F10E}" type="presOf" srcId="{97D12A91-DFC2-4B57-818E-2D8A1D21340A}" destId="{52ED8438-FA17-459A-A442-A91BA1199954}" srcOrd="0" destOrd="0" presId="urn:microsoft.com/office/officeart/2016/7/layout/RoundedRectangleTimeline"/>
    <dgm:cxn modelId="{F8DFAC5C-63B2-489D-8F06-ED9D379AC6E8}" type="presOf" srcId="{BA21C4A7-E6BA-4EFE-8BD0-32F124BDDDBD}" destId="{37DBEC9D-597E-4952-82EA-61209C019F08}" srcOrd="0" destOrd="0" presId="urn:microsoft.com/office/officeart/2016/7/layout/RoundedRectangleTimeline"/>
    <dgm:cxn modelId="{0EBE815F-D6F5-4BE3-A657-D69FE2BCCABD}" srcId="{1933674C-4290-42B7-AF47-6EE61E1C3C28}" destId="{3F7A9B2D-A9D1-4AD3-95BC-056D64B1A9BA}" srcOrd="6" destOrd="0" parTransId="{2318A579-14C4-4E3A-B398-29BD9B706537}" sibTransId="{AD5FE1A1-8009-46F4-933C-69B3995A1C1D}"/>
    <dgm:cxn modelId="{8951F845-DBAC-4858-9785-95047851C6EB}" type="presOf" srcId="{0A6B3A7F-D990-4374-92A8-3085422F9BBF}" destId="{683B96C1-17D5-429D-B75D-F558A960CE0C}" srcOrd="0" destOrd="0" presId="urn:microsoft.com/office/officeart/2016/7/layout/RoundedRectangleTimeline"/>
    <dgm:cxn modelId="{F0B39549-8619-44D3-AEE3-12D350EB0466}" type="presOf" srcId="{501F7932-FC98-41F8-A403-0E1BF3B99541}" destId="{993BF293-EAD5-4DFC-8662-4CFDF4A0D5F3}" srcOrd="0" destOrd="0" presId="urn:microsoft.com/office/officeart/2016/7/layout/RoundedRectangleTimeline"/>
    <dgm:cxn modelId="{2151ED4A-379D-4A94-8242-A6428EC23F84}" srcId="{1933674C-4290-42B7-AF47-6EE61E1C3C28}" destId="{CE8FFBC8-E2BA-47DA-9E56-BC017E100402}" srcOrd="1" destOrd="0" parTransId="{ED72FA2A-DDBD-4B15-B7C1-ED29DD27BE6C}" sibTransId="{E5DD65D9-4D81-4A76-B0AC-C96CA8632279}"/>
    <dgm:cxn modelId="{93D5AE4C-A171-4DEF-BDE9-820F3A4BC4AD}" type="presOf" srcId="{EB65F050-0746-49E3-9843-A6F45049196C}" destId="{ACC77FD0-3BD4-4641-AF46-F6078067D98A}" srcOrd="0" destOrd="0" presId="urn:microsoft.com/office/officeart/2016/7/layout/RoundedRectangleTimeline"/>
    <dgm:cxn modelId="{1323BA57-CCEE-4199-93E3-7D548800DBD2}" type="presOf" srcId="{EA1395A7-BABE-4F03-AD5D-2266326D3D03}" destId="{B0FBAA9D-3C98-4312-ABD5-AAC590CA1F4B}" srcOrd="0" destOrd="0" presId="urn:microsoft.com/office/officeart/2016/7/layout/RoundedRectangleTimeline"/>
    <dgm:cxn modelId="{1064DC57-9512-47E8-AA38-46AE6C2A3E6C}" srcId="{0A6B3A7F-D990-4374-92A8-3085422F9BBF}" destId="{DF6C0C9C-440A-4BE0-A1D4-BDBBA2121361}" srcOrd="0" destOrd="0" parTransId="{2856E338-3A34-49BC-8BFD-FC5BCD4EDE9B}" sibTransId="{688EFA42-9586-43DB-BABE-9A7E5E2FCB69}"/>
    <dgm:cxn modelId="{B556737F-43F8-4E33-94D3-9A1BEF1F3918}" type="presOf" srcId="{3F7A9B2D-A9D1-4AD3-95BC-056D64B1A9BA}" destId="{B29DDCB8-A7CE-4ABC-A765-5150F894F2C7}" srcOrd="0" destOrd="0" presId="urn:microsoft.com/office/officeart/2016/7/layout/RoundedRectangleTimeline"/>
    <dgm:cxn modelId="{73FCB680-7F3C-4AAA-B799-4BD1D7DA69EA}" srcId="{EA1395A7-BABE-4F03-AD5D-2266326D3D03}" destId="{DB3C4AAD-02E1-403E-95FA-48F65A183B48}" srcOrd="0" destOrd="0" parTransId="{4B5FE38C-4D15-41E9-8BE5-0F6716FBCD39}" sibTransId="{D7623F5D-B2F1-406B-BBB8-E7B25CFED5A3}"/>
    <dgm:cxn modelId="{E8305E88-E65E-4CA4-9FAE-90B55E756116}" type="presOf" srcId="{45D294F7-8786-48D3-9B1C-D35D8773E3D9}" destId="{12B3EE98-8EA9-477D-94FC-AC58F05F5524}" srcOrd="0" destOrd="0" presId="urn:microsoft.com/office/officeart/2016/7/layout/RoundedRectangleTimeline"/>
    <dgm:cxn modelId="{2308BC8D-CF20-4869-81B7-079290F8ECA1}" type="presOf" srcId="{CE8FFBC8-E2BA-47DA-9E56-BC017E100402}" destId="{CA993503-35AA-4DE5-9382-1AE376E2B913}" srcOrd="0" destOrd="0" presId="urn:microsoft.com/office/officeart/2016/7/layout/RoundedRectangleTimeline"/>
    <dgm:cxn modelId="{7D1F6090-CEB5-46F5-B867-92595F0C0FD5}" srcId="{501F7932-FC98-41F8-A403-0E1BF3B99541}" destId="{7D3675B4-3075-46CC-AB37-C0CE38589862}" srcOrd="0" destOrd="0" parTransId="{682E30EA-7044-46DF-A1E1-7B007EE52EFE}" sibTransId="{B71A92AC-EDD9-42DA-B336-12AA86C03EFE}"/>
    <dgm:cxn modelId="{64E67690-7551-467A-B97D-9045B30A9B8B}" srcId="{AEC5F47F-638D-4F1A-A12F-ACAC6CC45D6C}" destId="{45D294F7-8786-48D3-9B1C-D35D8773E3D9}" srcOrd="0" destOrd="0" parTransId="{2BFF1500-0DDA-46AB-8175-942296D6EEFA}" sibTransId="{C161F37E-DE6C-4911-BF1A-EC33FB6D5529}"/>
    <dgm:cxn modelId="{B303B390-890B-42A3-9BB0-9488928A706D}" type="presOf" srcId="{AEC5F47F-638D-4F1A-A12F-ACAC6CC45D6C}" destId="{5EE58C29-08CA-4BD6-8750-F9DF2B5218E3}" srcOrd="0" destOrd="0" presId="urn:microsoft.com/office/officeart/2016/7/layout/RoundedRectangleTimeline"/>
    <dgm:cxn modelId="{D2C10991-31AD-4AD8-886C-7106F963A72C}" srcId="{3F7A9B2D-A9D1-4AD3-95BC-056D64B1A9BA}" destId="{97D12A91-DFC2-4B57-818E-2D8A1D21340A}" srcOrd="0" destOrd="0" parTransId="{9C8787AB-050B-468F-B201-7DB3835F9DE0}" sibTransId="{CE20BF21-5E6D-4A06-91D9-5903A9E72408}"/>
    <dgm:cxn modelId="{936B289A-8359-4154-8F1F-EC4CD43910D4}" type="presOf" srcId="{7D3675B4-3075-46CC-AB37-C0CE38589862}" destId="{C852B168-8BB4-484E-8B45-E818EB563ACD}" srcOrd="0" destOrd="0" presId="urn:microsoft.com/office/officeart/2016/7/layout/RoundedRectangleTimeline"/>
    <dgm:cxn modelId="{EF4F1FA0-B4AA-4FD5-9A1B-26402AA8AF23}" type="presOf" srcId="{EBF958DC-45D1-43FA-ABB8-1B6A4090878F}" destId="{DDEE2088-9C66-48A1-BA1E-3D701A3ECC0B}" srcOrd="0" destOrd="0" presId="urn:microsoft.com/office/officeart/2016/7/layout/RoundedRectangleTimeline"/>
    <dgm:cxn modelId="{F246A4A4-3DAF-4039-B613-5C95166A6E7D}" type="presOf" srcId="{A336B9F0-4628-42CC-8778-7C238F760089}" destId="{9174D865-B074-4541-8434-6DAB84D74850}" srcOrd="0" destOrd="0" presId="urn:microsoft.com/office/officeart/2016/7/layout/RoundedRectangleTimeline"/>
    <dgm:cxn modelId="{87A9F9AE-D585-4F2D-95F6-3362758BAC21}" type="presOf" srcId="{1933674C-4290-42B7-AF47-6EE61E1C3C28}" destId="{582E6E34-7EF7-4E8E-8DC8-4DD5129E11B3}" srcOrd="0" destOrd="0" presId="urn:microsoft.com/office/officeart/2016/7/layout/RoundedRectangleTimeline"/>
    <dgm:cxn modelId="{EABD0CB6-D244-41EB-88D0-0A833939D4EC}" srcId="{CE8FFBC8-E2BA-47DA-9E56-BC017E100402}" destId="{EB65F050-0746-49E3-9843-A6F45049196C}" srcOrd="0" destOrd="0" parTransId="{755BA2A8-D0AB-46C9-B8CF-ADFE64C9E888}" sibTransId="{CB64B9BA-97CD-49C5-B540-E83A1B367D8E}"/>
    <dgm:cxn modelId="{C0B564C0-7625-4991-B453-16CD7D914321}" type="presOf" srcId="{B79AA00B-786D-4FC7-A28F-4526FEAEE60E}" destId="{B660B7E2-A753-4C49-8170-860DE8831991}" srcOrd="0" destOrd="0" presId="urn:microsoft.com/office/officeart/2016/7/layout/RoundedRectangleTimeline"/>
    <dgm:cxn modelId="{03292CC5-215D-4FBC-B827-695EFB4B9954}" srcId="{1933674C-4290-42B7-AF47-6EE61E1C3C28}" destId="{32937003-63D0-4FDC-9666-4B319A3B4D99}" srcOrd="2" destOrd="0" parTransId="{E4BC9C80-2619-4B37-98D9-B853F2A9F1C5}" sibTransId="{B91B7E21-CF4D-4D85-824E-CFC64C024D9B}"/>
    <dgm:cxn modelId="{5ABFC0E1-D710-4637-9EB2-BB07602D92F7}" srcId="{A336B9F0-4628-42CC-8778-7C238F760089}" destId="{6B06414B-420D-4712-9CE8-3D5FBCA2C995}" srcOrd="0" destOrd="0" parTransId="{DE621301-F923-45AC-ADDF-074E0E63E201}" sibTransId="{192804D4-C6DD-4C5A-B317-1077756EFC4D}"/>
    <dgm:cxn modelId="{0B6217EC-19BF-47AB-AA8C-BF268080F830}" srcId="{1933674C-4290-42B7-AF47-6EE61E1C3C28}" destId="{EA1395A7-BABE-4F03-AD5D-2266326D3D03}" srcOrd="0" destOrd="0" parTransId="{399B732E-66B7-4B5D-A1C6-951D63ADD3BB}" sibTransId="{8AFBAEDD-7C30-477A-B532-229E595C8384}"/>
    <dgm:cxn modelId="{AFDDF5ED-3D68-4035-BBA9-97BE25A40E77}" type="presOf" srcId="{DB3C4AAD-02E1-403E-95FA-48F65A183B48}" destId="{9D875279-7F85-451B-AA08-DCB5C149A1E7}" srcOrd="0" destOrd="0" presId="urn:microsoft.com/office/officeart/2016/7/layout/RoundedRectangleTimeline"/>
    <dgm:cxn modelId="{1AA98666-33CE-4B56-9F9F-9C7E04AB3924}" type="presParOf" srcId="{582E6E34-7EF7-4E8E-8DC8-4DD5129E11B3}" destId="{B8FBED92-F528-4356-A34A-87F36E936788}" srcOrd="0" destOrd="0" presId="urn:microsoft.com/office/officeart/2016/7/layout/RoundedRectangleTimeline"/>
    <dgm:cxn modelId="{D1C9A562-68B4-4B14-9386-727C9FAAFA43}" type="presParOf" srcId="{B8FBED92-F528-4356-A34A-87F36E936788}" destId="{B0FBAA9D-3C98-4312-ABD5-AAC590CA1F4B}" srcOrd="0" destOrd="0" presId="urn:microsoft.com/office/officeart/2016/7/layout/RoundedRectangleTimeline"/>
    <dgm:cxn modelId="{A94D5F32-EF27-413A-A668-7D96CBF777EA}" type="presParOf" srcId="{B8FBED92-F528-4356-A34A-87F36E936788}" destId="{9D875279-7F85-451B-AA08-DCB5C149A1E7}" srcOrd="1" destOrd="0" presId="urn:microsoft.com/office/officeart/2016/7/layout/RoundedRectangleTimeline"/>
    <dgm:cxn modelId="{A125EBAD-7DF0-46B0-BA30-799C5A95E4B4}" type="presParOf" srcId="{B8FBED92-F528-4356-A34A-87F36E936788}" destId="{4A3D8B02-1214-46CE-8A43-CE419735DC67}" srcOrd="2" destOrd="0" presId="urn:microsoft.com/office/officeart/2016/7/layout/RoundedRectangleTimeline"/>
    <dgm:cxn modelId="{0191F412-6BB9-4589-860A-D75B7CB59E1F}" type="presParOf" srcId="{B8FBED92-F528-4356-A34A-87F36E936788}" destId="{2C15677D-C56F-46EC-92F5-8582B34D741B}" srcOrd="3" destOrd="0" presId="urn:microsoft.com/office/officeart/2016/7/layout/RoundedRectangleTimeline"/>
    <dgm:cxn modelId="{A286196A-7E58-4E0B-9AC1-FCBF46114865}" type="presParOf" srcId="{B8FBED92-F528-4356-A34A-87F36E936788}" destId="{9374628A-9096-4DE9-BB86-A1F6F3582EB5}" srcOrd="4" destOrd="0" presId="urn:microsoft.com/office/officeart/2016/7/layout/RoundedRectangleTimeline"/>
    <dgm:cxn modelId="{4308575D-93C3-4C55-AE69-8F7199484442}" type="presParOf" srcId="{582E6E34-7EF7-4E8E-8DC8-4DD5129E11B3}" destId="{84E7C9CA-F6AA-46DF-9FA1-C3D3B8BC96BF}" srcOrd="1" destOrd="0" presId="urn:microsoft.com/office/officeart/2016/7/layout/RoundedRectangleTimeline"/>
    <dgm:cxn modelId="{3E8082F0-54C9-46D0-8D70-63BE057CC45E}" type="presParOf" srcId="{582E6E34-7EF7-4E8E-8DC8-4DD5129E11B3}" destId="{B6601F5E-6E50-4D53-B6F8-A4C229DDDE65}" srcOrd="2" destOrd="0" presId="urn:microsoft.com/office/officeart/2016/7/layout/RoundedRectangleTimeline"/>
    <dgm:cxn modelId="{B2DDF5CB-5AA2-4B12-9FD2-87D11011AF53}" type="presParOf" srcId="{B6601F5E-6E50-4D53-B6F8-A4C229DDDE65}" destId="{CA993503-35AA-4DE5-9382-1AE376E2B913}" srcOrd="0" destOrd="0" presId="urn:microsoft.com/office/officeart/2016/7/layout/RoundedRectangleTimeline"/>
    <dgm:cxn modelId="{B7848A28-FF09-418F-A5DE-999118E8C8E0}" type="presParOf" srcId="{B6601F5E-6E50-4D53-B6F8-A4C229DDDE65}" destId="{ACC77FD0-3BD4-4641-AF46-F6078067D98A}" srcOrd="1" destOrd="0" presId="urn:microsoft.com/office/officeart/2016/7/layout/RoundedRectangleTimeline"/>
    <dgm:cxn modelId="{96904BCF-E62D-4A66-8701-1C40710481D5}" type="presParOf" srcId="{B6601F5E-6E50-4D53-B6F8-A4C229DDDE65}" destId="{E1B6C157-3DC8-4DC1-B2D6-0DA5F839CE5B}" srcOrd="2" destOrd="0" presId="urn:microsoft.com/office/officeart/2016/7/layout/RoundedRectangleTimeline"/>
    <dgm:cxn modelId="{CA344F8E-0DCC-4373-ABC1-BD85662C397B}" type="presParOf" srcId="{B6601F5E-6E50-4D53-B6F8-A4C229DDDE65}" destId="{4D28EF5E-2DC7-483D-814A-922388E608E1}" srcOrd="3" destOrd="0" presId="urn:microsoft.com/office/officeart/2016/7/layout/RoundedRectangleTimeline"/>
    <dgm:cxn modelId="{0301A1C4-8BA6-4EDD-9E5D-3312BB2C7659}" type="presParOf" srcId="{B6601F5E-6E50-4D53-B6F8-A4C229DDDE65}" destId="{42930C36-AAA2-4419-A3AD-9E546C999762}" srcOrd="4" destOrd="0" presId="urn:microsoft.com/office/officeart/2016/7/layout/RoundedRectangleTimeline"/>
    <dgm:cxn modelId="{3860DB06-7216-4698-A72D-AE52CC510CE7}" type="presParOf" srcId="{582E6E34-7EF7-4E8E-8DC8-4DD5129E11B3}" destId="{B8F227CD-8022-433C-AD56-963C3E06F0C4}" srcOrd="3" destOrd="0" presId="urn:microsoft.com/office/officeart/2016/7/layout/RoundedRectangleTimeline"/>
    <dgm:cxn modelId="{AA3189C9-914A-4D2D-9A34-FF3A26AE236A}" type="presParOf" srcId="{582E6E34-7EF7-4E8E-8DC8-4DD5129E11B3}" destId="{21BE2410-2557-4311-ABED-4458E88B4538}" srcOrd="4" destOrd="0" presId="urn:microsoft.com/office/officeart/2016/7/layout/RoundedRectangleTimeline"/>
    <dgm:cxn modelId="{5192E39E-2364-4589-9417-E69F023BEF71}" type="presParOf" srcId="{21BE2410-2557-4311-ABED-4458E88B4538}" destId="{19B304C7-80EC-40B9-92A7-EE53243978E3}" srcOrd="0" destOrd="0" presId="urn:microsoft.com/office/officeart/2016/7/layout/RoundedRectangleTimeline"/>
    <dgm:cxn modelId="{D3E6277F-FB69-4B08-B655-5BAE2ED8E85C}" type="presParOf" srcId="{21BE2410-2557-4311-ABED-4458E88B4538}" destId="{37DBEC9D-597E-4952-82EA-61209C019F08}" srcOrd="1" destOrd="0" presId="urn:microsoft.com/office/officeart/2016/7/layout/RoundedRectangleTimeline"/>
    <dgm:cxn modelId="{2ED834CB-7F67-4442-9CD8-D6F27AA3B339}" type="presParOf" srcId="{21BE2410-2557-4311-ABED-4458E88B4538}" destId="{136FD358-C3D4-4C41-8E55-CF28497117C0}" srcOrd="2" destOrd="0" presId="urn:microsoft.com/office/officeart/2016/7/layout/RoundedRectangleTimeline"/>
    <dgm:cxn modelId="{34EA23F7-4398-4072-928B-B415B36B12F9}" type="presParOf" srcId="{21BE2410-2557-4311-ABED-4458E88B4538}" destId="{961F41ED-A44D-43E9-B176-1927CE1B7AAC}" srcOrd="3" destOrd="0" presId="urn:microsoft.com/office/officeart/2016/7/layout/RoundedRectangleTimeline"/>
    <dgm:cxn modelId="{AC2D2974-D5B5-46F5-B248-9E58EABDE594}" type="presParOf" srcId="{21BE2410-2557-4311-ABED-4458E88B4538}" destId="{E84627D0-8B12-49E5-AF85-2A89071E0157}" srcOrd="4" destOrd="0" presId="urn:microsoft.com/office/officeart/2016/7/layout/RoundedRectangleTimeline"/>
    <dgm:cxn modelId="{1D9131F3-8535-48AF-AF13-4F23B0F5EB97}" type="presParOf" srcId="{582E6E34-7EF7-4E8E-8DC8-4DD5129E11B3}" destId="{583FF185-FE9C-4FEF-8747-635280881B61}" srcOrd="5" destOrd="0" presId="urn:microsoft.com/office/officeart/2016/7/layout/RoundedRectangleTimeline"/>
    <dgm:cxn modelId="{F3432BDA-F3DF-4C43-824A-9F137A0B075A}" type="presParOf" srcId="{582E6E34-7EF7-4E8E-8DC8-4DD5129E11B3}" destId="{815B94F3-CB8A-44FC-AA02-A27B7DB616F7}" srcOrd="6" destOrd="0" presId="urn:microsoft.com/office/officeart/2016/7/layout/RoundedRectangleTimeline"/>
    <dgm:cxn modelId="{E8829FBC-C130-453B-8FB9-738A44805DE0}" type="presParOf" srcId="{815B94F3-CB8A-44FC-AA02-A27B7DB616F7}" destId="{993BF293-EAD5-4DFC-8662-4CFDF4A0D5F3}" srcOrd="0" destOrd="0" presId="urn:microsoft.com/office/officeart/2016/7/layout/RoundedRectangleTimeline"/>
    <dgm:cxn modelId="{8F00A983-62F6-477D-8D0A-724989AED172}" type="presParOf" srcId="{815B94F3-CB8A-44FC-AA02-A27B7DB616F7}" destId="{C852B168-8BB4-484E-8B45-E818EB563ACD}" srcOrd="1" destOrd="0" presId="urn:microsoft.com/office/officeart/2016/7/layout/RoundedRectangleTimeline"/>
    <dgm:cxn modelId="{0E9CC94D-622E-4363-9DC1-8959E78C750F}" type="presParOf" srcId="{815B94F3-CB8A-44FC-AA02-A27B7DB616F7}" destId="{1EE77A18-3D62-421E-872D-1F0DC1BFCC4F}" srcOrd="2" destOrd="0" presId="urn:microsoft.com/office/officeart/2016/7/layout/RoundedRectangleTimeline"/>
    <dgm:cxn modelId="{08F3E4E1-6A4F-468F-82E6-5BBECC474FEB}" type="presParOf" srcId="{815B94F3-CB8A-44FC-AA02-A27B7DB616F7}" destId="{D9DA2A49-8D17-4824-86BD-98B72C3CF269}" srcOrd="3" destOrd="0" presId="urn:microsoft.com/office/officeart/2016/7/layout/RoundedRectangleTimeline"/>
    <dgm:cxn modelId="{DA53BFAB-2174-49FD-BCE4-861D82155C88}" type="presParOf" srcId="{815B94F3-CB8A-44FC-AA02-A27B7DB616F7}" destId="{0E6B972F-4FE5-4947-AF45-2CBEB2C2922F}" srcOrd="4" destOrd="0" presId="urn:microsoft.com/office/officeart/2016/7/layout/RoundedRectangleTimeline"/>
    <dgm:cxn modelId="{A6283F9A-ECB4-4D17-AF4D-80165977BF26}" type="presParOf" srcId="{582E6E34-7EF7-4E8E-8DC8-4DD5129E11B3}" destId="{4169DDFA-34B0-4091-950E-140D665B6360}" srcOrd="7" destOrd="0" presId="urn:microsoft.com/office/officeart/2016/7/layout/RoundedRectangleTimeline"/>
    <dgm:cxn modelId="{A97DACBF-1DB0-4033-A0F9-49A3757C0011}" type="presParOf" srcId="{582E6E34-7EF7-4E8E-8DC8-4DD5129E11B3}" destId="{4A4F7C4D-C127-46B7-9D78-DC31D4D01D0D}" srcOrd="8" destOrd="0" presId="urn:microsoft.com/office/officeart/2016/7/layout/RoundedRectangleTimeline"/>
    <dgm:cxn modelId="{567BC958-C2B0-4255-A8D6-C9B9A24BB7EC}" type="presParOf" srcId="{4A4F7C4D-C127-46B7-9D78-DC31D4D01D0D}" destId="{9174D865-B074-4541-8434-6DAB84D74850}" srcOrd="0" destOrd="0" presId="urn:microsoft.com/office/officeart/2016/7/layout/RoundedRectangleTimeline"/>
    <dgm:cxn modelId="{314390AD-1DFC-43C3-B6C6-8D381EB200CC}" type="presParOf" srcId="{4A4F7C4D-C127-46B7-9D78-DC31D4D01D0D}" destId="{B240B086-CBA3-4C72-84AC-C1AC4E24786A}" srcOrd="1" destOrd="0" presId="urn:microsoft.com/office/officeart/2016/7/layout/RoundedRectangleTimeline"/>
    <dgm:cxn modelId="{DB1158A6-156F-4F4A-BF67-68833E8079DA}" type="presParOf" srcId="{4A4F7C4D-C127-46B7-9D78-DC31D4D01D0D}" destId="{40D6440E-8C75-4CE0-B68D-0D7D338B208A}" srcOrd="2" destOrd="0" presId="urn:microsoft.com/office/officeart/2016/7/layout/RoundedRectangleTimeline"/>
    <dgm:cxn modelId="{BBE15234-4756-4152-B45C-F781907C3205}" type="presParOf" srcId="{4A4F7C4D-C127-46B7-9D78-DC31D4D01D0D}" destId="{B902014F-A5AF-4EB9-B0BA-2DB93905E7B6}" srcOrd="3" destOrd="0" presId="urn:microsoft.com/office/officeart/2016/7/layout/RoundedRectangleTimeline"/>
    <dgm:cxn modelId="{FD98D015-9502-4F10-943E-46D7661686F8}" type="presParOf" srcId="{4A4F7C4D-C127-46B7-9D78-DC31D4D01D0D}" destId="{262CC101-A504-4817-9333-2D26AEEFE7FB}" srcOrd="4" destOrd="0" presId="urn:microsoft.com/office/officeart/2016/7/layout/RoundedRectangleTimeline"/>
    <dgm:cxn modelId="{85FF1ADB-A1CE-475E-822D-4BDF8B0B9595}" type="presParOf" srcId="{582E6E34-7EF7-4E8E-8DC8-4DD5129E11B3}" destId="{7D386461-054B-4286-AB75-7A64CAA0C632}" srcOrd="9" destOrd="0" presId="urn:microsoft.com/office/officeart/2016/7/layout/RoundedRectangleTimeline"/>
    <dgm:cxn modelId="{B084692A-BA76-4C97-8310-562C94E10211}" type="presParOf" srcId="{582E6E34-7EF7-4E8E-8DC8-4DD5129E11B3}" destId="{7F0CADF0-3892-40FF-9D2A-3B65DF2DBC6E}" srcOrd="10" destOrd="0" presId="urn:microsoft.com/office/officeart/2016/7/layout/RoundedRectangleTimeline"/>
    <dgm:cxn modelId="{5A5851AD-3FBF-433D-8AB1-47A6344B61DD}" type="presParOf" srcId="{7F0CADF0-3892-40FF-9D2A-3B65DF2DBC6E}" destId="{DDEE2088-9C66-48A1-BA1E-3D701A3ECC0B}" srcOrd="0" destOrd="0" presId="urn:microsoft.com/office/officeart/2016/7/layout/RoundedRectangleTimeline"/>
    <dgm:cxn modelId="{6AB1BCC3-F3FF-4294-AD23-F24C51BCCA5B}" type="presParOf" srcId="{7F0CADF0-3892-40FF-9D2A-3B65DF2DBC6E}" destId="{B660B7E2-A753-4C49-8170-860DE8831991}" srcOrd="1" destOrd="0" presId="urn:microsoft.com/office/officeart/2016/7/layout/RoundedRectangleTimeline"/>
    <dgm:cxn modelId="{68A3482E-948A-4091-934C-0B93F12B3F54}" type="presParOf" srcId="{7F0CADF0-3892-40FF-9D2A-3B65DF2DBC6E}" destId="{85CECBD0-93CC-42AE-8F6F-ECC2ED561C5A}" srcOrd="2" destOrd="0" presId="urn:microsoft.com/office/officeart/2016/7/layout/RoundedRectangleTimeline"/>
    <dgm:cxn modelId="{4DF35B13-5A1F-4F8C-89D8-71804E58F74E}" type="presParOf" srcId="{7F0CADF0-3892-40FF-9D2A-3B65DF2DBC6E}" destId="{2785E163-1756-42E5-8694-20F106FC4464}" srcOrd="3" destOrd="0" presId="urn:microsoft.com/office/officeart/2016/7/layout/RoundedRectangleTimeline"/>
    <dgm:cxn modelId="{04CE3294-C77D-4BDA-BF7F-0D928CD8558E}" type="presParOf" srcId="{7F0CADF0-3892-40FF-9D2A-3B65DF2DBC6E}" destId="{B45A278E-AEF7-4742-B1A7-8372F4A1E90A}" srcOrd="4" destOrd="0" presId="urn:microsoft.com/office/officeart/2016/7/layout/RoundedRectangleTimeline"/>
    <dgm:cxn modelId="{20D228A9-E34D-4C52-9C2E-002E6429060B}" type="presParOf" srcId="{582E6E34-7EF7-4E8E-8DC8-4DD5129E11B3}" destId="{76EBBE79-F1A6-451B-93B8-1FD5832E5E29}" srcOrd="11" destOrd="0" presId="urn:microsoft.com/office/officeart/2016/7/layout/RoundedRectangleTimeline"/>
    <dgm:cxn modelId="{E30B0275-0949-4C5B-AD45-914A5F9ACB08}" type="presParOf" srcId="{582E6E34-7EF7-4E8E-8DC8-4DD5129E11B3}" destId="{DCA48090-C4C7-4736-BDE0-C25D3FF0EE70}" srcOrd="12" destOrd="0" presId="urn:microsoft.com/office/officeart/2016/7/layout/RoundedRectangleTimeline"/>
    <dgm:cxn modelId="{3E77D01E-0E6E-4DCD-BB8D-E67160753941}" type="presParOf" srcId="{DCA48090-C4C7-4736-BDE0-C25D3FF0EE70}" destId="{B29DDCB8-A7CE-4ABC-A765-5150F894F2C7}" srcOrd="0" destOrd="0" presId="urn:microsoft.com/office/officeart/2016/7/layout/RoundedRectangleTimeline"/>
    <dgm:cxn modelId="{668D9369-72D3-434D-A400-771A09FD95BC}" type="presParOf" srcId="{DCA48090-C4C7-4736-BDE0-C25D3FF0EE70}" destId="{52ED8438-FA17-459A-A442-A91BA1199954}" srcOrd="1" destOrd="0" presId="urn:microsoft.com/office/officeart/2016/7/layout/RoundedRectangleTimeline"/>
    <dgm:cxn modelId="{9D4188AF-DF5A-4810-970D-5C3C674BE3DA}" type="presParOf" srcId="{DCA48090-C4C7-4736-BDE0-C25D3FF0EE70}" destId="{A46217C5-00DB-444E-B512-719594E522DA}" srcOrd="2" destOrd="0" presId="urn:microsoft.com/office/officeart/2016/7/layout/RoundedRectangleTimeline"/>
    <dgm:cxn modelId="{D8F8C01C-C1C7-4690-8DC3-B99275E30729}" type="presParOf" srcId="{DCA48090-C4C7-4736-BDE0-C25D3FF0EE70}" destId="{44CFEE9C-A5F8-4D60-828D-5EE23D37A2AF}" srcOrd="3" destOrd="0" presId="urn:microsoft.com/office/officeart/2016/7/layout/RoundedRectangleTimeline"/>
    <dgm:cxn modelId="{1DC1C081-019F-4653-AA0F-6998B0405CD0}" type="presParOf" srcId="{DCA48090-C4C7-4736-BDE0-C25D3FF0EE70}" destId="{9FBEA5F3-E30F-4694-A273-A0D892D8227E}" srcOrd="4" destOrd="0" presId="urn:microsoft.com/office/officeart/2016/7/layout/RoundedRectangleTimeline"/>
    <dgm:cxn modelId="{F2412BDD-6B30-472F-8D51-29848A799FAB}" type="presParOf" srcId="{582E6E34-7EF7-4E8E-8DC8-4DD5129E11B3}" destId="{C95FF623-1D85-45C2-8DDF-4A0CB0BCE42A}" srcOrd="13" destOrd="0" presId="urn:microsoft.com/office/officeart/2016/7/layout/RoundedRectangleTimeline"/>
    <dgm:cxn modelId="{752B845F-25E8-48E2-9BB0-F90785992ECF}" type="presParOf" srcId="{582E6E34-7EF7-4E8E-8DC8-4DD5129E11B3}" destId="{1E1A2C0D-A221-4975-B9BE-2C06F3BEB1A6}" srcOrd="14" destOrd="0" presId="urn:microsoft.com/office/officeart/2016/7/layout/RoundedRectangleTimeline"/>
    <dgm:cxn modelId="{F6A6B956-88E9-448D-A3F2-C1607B32B19F}" type="presParOf" srcId="{1E1A2C0D-A221-4975-B9BE-2C06F3BEB1A6}" destId="{683B96C1-17D5-429D-B75D-F558A960CE0C}" srcOrd="0" destOrd="0" presId="urn:microsoft.com/office/officeart/2016/7/layout/RoundedRectangleTimeline"/>
    <dgm:cxn modelId="{D10BDE5A-D4FF-4999-829E-4DC98BF686B0}" type="presParOf" srcId="{1E1A2C0D-A221-4975-B9BE-2C06F3BEB1A6}" destId="{DE7E5952-8F38-4C15-BBC0-A95779E9EF38}" srcOrd="1" destOrd="0" presId="urn:microsoft.com/office/officeart/2016/7/layout/RoundedRectangleTimeline"/>
    <dgm:cxn modelId="{3F782097-8829-4493-84AB-86A695A5B2DF}" type="presParOf" srcId="{1E1A2C0D-A221-4975-B9BE-2C06F3BEB1A6}" destId="{B40660E7-480B-4517-8336-4F32C2822BE3}" srcOrd="2" destOrd="0" presId="urn:microsoft.com/office/officeart/2016/7/layout/RoundedRectangleTimeline"/>
    <dgm:cxn modelId="{F1155EAA-916D-46BD-B518-966E98F0666B}" type="presParOf" srcId="{1E1A2C0D-A221-4975-B9BE-2C06F3BEB1A6}" destId="{12D427F4-99AD-4AF6-848D-32B3B6C1983E}" srcOrd="3" destOrd="0" presId="urn:microsoft.com/office/officeart/2016/7/layout/RoundedRectangleTimeline"/>
    <dgm:cxn modelId="{A5DF5F2E-237B-4790-AFB7-25C21A5DA131}" type="presParOf" srcId="{1E1A2C0D-A221-4975-B9BE-2C06F3BEB1A6}" destId="{4DC2DD4D-783A-4F14-A369-DD175E0F2EED}" srcOrd="4" destOrd="0" presId="urn:microsoft.com/office/officeart/2016/7/layout/RoundedRectangleTimeline"/>
    <dgm:cxn modelId="{EB16D3DD-0CF9-4178-837E-2BD3EB7CB667}" type="presParOf" srcId="{582E6E34-7EF7-4E8E-8DC8-4DD5129E11B3}" destId="{4DB46ABC-6AFC-4A20-868C-852BFC0F46A7}" srcOrd="15" destOrd="0" presId="urn:microsoft.com/office/officeart/2016/7/layout/RoundedRectangleTimeline"/>
    <dgm:cxn modelId="{A7B09BF9-C651-43C5-B74C-4617F1280DED}" type="presParOf" srcId="{582E6E34-7EF7-4E8E-8DC8-4DD5129E11B3}" destId="{0A8539D0-CD49-4A94-BD8A-C11C9468C477}" srcOrd="16" destOrd="0" presId="urn:microsoft.com/office/officeart/2016/7/layout/RoundedRectangleTimeline"/>
    <dgm:cxn modelId="{D2EE86E8-E191-4882-B312-59BA36DBD44A}" type="presParOf" srcId="{0A8539D0-CD49-4A94-BD8A-C11C9468C477}" destId="{5EE58C29-08CA-4BD6-8750-F9DF2B5218E3}" srcOrd="0" destOrd="0" presId="urn:microsoft.com/office/officeart/2016/7/layout/RoundedRectangleTimeline"/>
    <dgm:cxn modelId="{46DEA43D-5E15-4375-94D8-E430A457D0C4}" type="presParOf" srcId="{0A8539D0-CD49-4A94-BD8A-C11C9468C477}" destId="{12B3EE98-8EA9-477D-94FC-AC58F05F5524}" srcOrd="1" destOrd="0" presId="urn:microsoft.com/office/officeart/2016/7/layout/RoundedRectangleTimeline"/>
    <dgm:cxn modelId="{FA6545B0-4336-4105-A5CC-DEF63AA71030}" type="presParOf" srcId="{0A8539D0-CD49-4A94-BD8A-C11C9468C477}" destId="{89CC0DF3-1F74-4B31-A04D-4075AB915F19}" srcOrd="2" destOrd="0" presId="urn:microsoft.com/office/officeart/2016/7/layout/RoundedRectangleTimeline"/>
    <dgm:cxn modelId="{2A046CB5-5856-41F1-B42D-3DC15B051DF3}" type="presParOf" srcId="{0A8539D0-CD49-4A94-BD8A-C11C9468C477}" destId="{84C9B3F7-DF05-4119-B805-6C432BEE03A2}" srcOrd="3" destOrd="0" presId="urn:microsoft.com/office/officeart/2016/7/layout/RoundedRectangleTimeline"/>
    <dgm:cxn modelId="{BA240642-8ACE-4969-8664-A272D5992125}" type="presParOf" srcId="{0A8539D0-CD49-4A94-BD8A-C11C9468C477}" destId="{A1260AED-7704-4BED-AE2B-9CE9E2C353E1}" srcOrd="4" destOrd="0" presId="urn:microsoft.com/office/officeart/2016/7/layout/RoundedRectangleTimeline"/>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6DA3134-3FF6-4391-8912-E2EA152871B5}" type="doc">
      <dgm:prSet loTypeId="urn:microsoft.com/office/officeart/2005/8/layout/matrix3" loCatId="matrix" qsTypeId="urn:microsoft.com/office/officeart/2005/8/quickstyle/simple1" qsCatId="simple" csTypeId="urn:microsoft.com/office/officeart/2005/8/colors/accent3_2" csCatId="accent3" phldr="1"/>
      <dgm:spPr/>
      <dgm:t>
        <a:bodyPr/>
        <a:lstStyle/>
        <a:p>
          <a:endParaRPr lang="es-CL"/>
        </a:p>
      </dgm:t>
    </dgm:pt>
    <dgm:pt modelId="{47F8205E-C20E-4162-BF23-A66DD5A0DB11}">
      <dgm:prSet phldrT="[Texto]"/>
      <dgm:spPr/>
      <dgm:t>
        <a:bodyPr/>
        <a:lstStyle/>
        <a:p>
          <a:pPr algn="ctr"/>
          <a:r>
            <a:rPr lang="de-DE" b="1" dirty="0"/>
            <a:t>System </a:t>
          </a:r>
          <a:r>
            <a:rPr lang="de-DE" b="1" dirty="0" err="1"/>
            <a:t>actors</a:t>
          </a:r>
          <a:r>
            <a:rPr lang="de-DE" b="1" dirty="0"/>
            <a:t>: Stakeholder </a:t>
          </a:r>
          <a:r>
            <a:rPr lang="de-DE" b="1" dirty="0" err="1"/>
            <a:t>analysis</a:t>
          </a:r>
          <a:r>
            <a:rPr lang="es-CL" b="1" dirty="0"/>
            <a:t>.</a:t>
          </a:r>
        </a:p>
      </dgm:t>
    </dgm:pt>
    <dgm:pt modelId="{AFB25653-331B-4A31-9E92-73F78EC88938}" type="parTrans" cxnId="{C063227D-0D5C-48E6-9028-852DDA42B4DC}">
      <dgm:prSet/>
      <dgm:spPr/>
      <dgm:t>
        <a:bodyPr/>
        <a:lstStyle/>
        <a:p>
          <a:pPr algn="ctr"/>
          <a:endParaRPr lang="es-CL"/>
        </a:p>
      </dgm:t>
    </dgm:pt>
    <dgm:pt modelId="{6AE7D391-EFF1-4010-B94C-68EE685BE086}" type="sibTrans" cxnId="{C063227D-0D5C-48E6-9028-852DDA42B4DC}">
      <dgm:prSet/>
      <dgm:spPr/>
      <dgm:t>
        <a:bodyPr/>
        <a:lstStyle/>
        <a:p>
          <a:pPr algn="ctr"/>
          <a:endParaRPr lang="es-CL"/>
        </a:p>
      </dgm:t>
    </dgm:pt>
    <dgm:pt modelId="{AAA676CB-6DAF-47CB-B3AF-E8C6557BA8F2}">
      <dgm:prSet phldrT="[Texto]"/>
      <dgm:spPr/>
      <dgm:t>
        <a:bodyPr/>
        <a:lstStyle/>
        <a:p>
          <a:pPr algn="ctr"/>
          <a:r>
            <a:rPr lang="en-US" b="1" dirty="0"/>
            <a:t>Analysis of possibilities: emissions, performance, others</a:t>
          </a:r>
          <a:r>
            <a:rPr lang="es-MX" b="1" dirty="0"/>
            <a:t>.</a:t>
          </a:r>
          <a:endParaRPr lang="es-CL" b="1" dirty="0"/>
        </a:p>
      </dgm:t>
    </dgm:pt>
    <dgm:pt modelId="{DD4E279C-8050-4D3E-A453-BFFA565C9B5C}" type="parTrans" cxnId="{F7FBCEF4-D11E-4673-B4F7-4D4F20EF254F}">
      <dgm:prSet/>
      <dgm:spPr/>
      <dgm:t>
        <a:bodyPr/>
        <a:lstStyle/>
        <a:p>
          <a:pPr algn="ctr"/>
          <a:endParaRPr lang="es-CL"/>
        </a:p>
      </dgm:t>
    </dgm:pt>
    <dgm:pt modelId="{76CE465F-8067-449A-BF57-03CF6113F3D4}" type="sibTrans" cxnId="{F7FBCEF4-D11E-4673-B4F7-4D4F20EF254F}">
      <dgm:prSet/>
      <dgm:spPr/>
      <dgm:t>
        <a:bodyPr/>
        <a:lstStyle/>
        <a:p>
          <a:pPr algn="ctr"/>
          <a:endParaRPr lang="es-CL"/>
        </a:p>
      </dgm:t>
    </dgm:pt>
    <dgm:pt modelId="{8300D6B6-9180-4E60-8CA7-E8DF8AAF1F8B}">
      <dgm:prSet phldrT="[Texto]"/>
      <dgm:spPr/>
      <dgm:t>
        <a:bodyPr/>
        <a:lstStyle/>
        <a:p>
          <a:pPr algn="ctr"/>
          <a:r>
            <a:rPr lang="de-DE" b="1" dirty="0"/>
            <a:t>Expert support: Universidad de Chile</a:t>
          </a:r>
          <a:r>
            <a:rPr lang="es-CL" b="1" dirty="0"/>
            <a:t>.</a:t>
          </a:r>
        </a:p>
      </dgm:t>
    </dgm:pt>
    <dgm:pt modelId="{5F865D30-9B5A-4EDF-B2AE-7888542B0075}" type="parTrans" cxnId="{B0F028C1-BFDE-4230-AB29-D23F802E5743}">
      <dgm:prSet/>
      <dgm:spPr/>
      <dgm:t>
        <a:bodyPr/>
        <a:lstStyle/>
        <a:p>
          <a:pPr algn="ctr"/>
          <a:endParaRPr lang="es-CL"/>
        </a:p>
      </dgm:t>
    </dgm:pt>
    <dgm:pt modelId="{3C6F9981-133E-4AC1-83B9-2D23605D295F}" type="sibTrans" cxnId="{B0F028C1-BFDE-4230-AB29-D23F802E5743}">
      <dgm:prSet/>
      <dgm:spPr/>
      <dgm:t>
        <a:bodyPr/>
        <a:lstStyle/>
        <a:p>
          <a:pPr algn="ctr"/>
          <a:endParaRPr lang="es-CL"/>
        </a:p>
      </dgm:t>
    </dgm:pt>
    <dgm:pt modelId="{1237E638-3716-4456-BC90-8C3AD8E2CD26}">
      <dgm:prSet phldrT="[Texto]"/>
      <dgm:spPr/>
      <dgm:t>
        <a:bodyPr/>
        <a:lstStyle/>
        <a:p>
          <a:pPr algn="ctr"/>
          <a:r>
            <a:rPr lang="es-CL" b="1" dirty="0" err="1"/>
            <a:t>Political</a:t>
          </a:r>
          <a:r>
            <a:rPr lang="es-CL" b="1" dirty="0"/>
            <a:t> </a:t>
          </a:r>
          <a:r>
            <a:rPr lang="es-CL" b="1" dirty="0" err="1"/>
            <a:t>will</a:t>
          </a:r>
          <a:r>
            <a:rPr lang="es-CL" b="0" dirty="0"/>
            <a:t>.</a:t>
          </a:r>
        </a:p>
      </dgm:t>
    </dgm:pt>
    <dgm:pt modelId="{CA51BFD7-7EC4-4C84-AE7A-F9127F476712}" type="parTrans" cxnId="{6BEA96EE-1940-4295-83DC-6714106894A8}">
      <dgm:prSet/>
      <dgm:spPr/>
      <dgm:t>
        <a:bodyPr/>
        <a:lstStyle/>
        <a:p>
          <a:endParaRPr lang="es-CL"/>
        </a:p>
      </dgm:t>
    </dgm:pt>
    <dgm:pt modelId="{DF969C0C-4DF4-48D1-A4D7-97A1B2B10B16}" type="sibTrans" cxnId="{6BEA96EE-1940-4295-83DC-6714106894A8}">
      <dgm:prSet/>
      <dgm:spPr/>
      <dgm:t>
        <a:bodyPr/>
        <a:lstStyle/>
        <a:p>
          <a:endParaRPr lang="es-CL"/>
        </a:p>
      </dgm:t>
    </dgm:pt>
    <dgm:pt modelId="{B4BAEFB1-2908-4A9A-AABD-0C74B419DDDC}" type="pres">
      <dgm:prSet presAssocID="{06DA3134-3FF6-4391-8912-E2EA152871B5}" presName="matrix" presStyleCnt="0">
        <dgm:presLayoutVars>
          <dgm:chMax val="1"/>
          <dgm:dir/>
          <dgm:resizeHandles val="exact"/>
        </dgm:presLayoutVars>
      </dgm:prSet>
      <dgm:spPr/>
    </dgm:pt>
    <dgm:pt modelId="{65D4F584-5C2E-4843-8156-043E67C0EB04}" type="pres">
      <dgm:prSet presAssocID="{06DA3134-3FF6-4391-8912-E2EA152871B5}" presName="diamond" presStyleLbl="bgShp" presStyleIdx="0" presStyleCnt="1"/>
      <dgm:spPr/>
    </dgm:pt>
    <dgm:pt modelId="{1883C145-B791-4FDD-8403-C092054F5CF7}" type="pres">
      <dgm:prSet presAssocID="{06DA3134-3FF6-4391-8912-E2EA152871B5}" presName="quad1" presStyleLbl="node1" presStyleIdx="0" presStyleCnt="4">
        <dgm:presLayoutVars>
          <dgm:chMax val="0"/>
          <dgm:chPref val="0"/>
          <dgm:bulletEnabled val="1"/>
        </dgm:presLayoutVars>
      </dgm:prSet>
      <dgm:spPr/>
    </dgm:pt>
    <dgm:pt modelId="{44FB8E86-0991-40E3-8E3C-DA7AB1202103}" type="pres">
      <dgm:prSet presAssocID="{06DA3134-3FF6-4391-8912-E2EA152871B5}" presName="quad2" presStyleLbl="node1" presStyleIdx="1" presStyleCnt="4">
        <dgm:presLayoutVars>
          <dgm:chMax val="0"/>
          <dgm:chPref val="0"/>
          <dgm:bulletEnabled val="1"/>
        </dgm:presLayoutVars>
      </dgm:prSet>
      <dgm:spPr/>
    </dgm:pt>
    <dgm:pt modelId="{49727C9C-3DF7-4721-94CD-DC75E839A7C9}" type="pres">
      <dgm:prSet presAssocID="{06DA3134-3FF6-4391-8912-E2EA152871B5}" presName="quad3" presStyleLbl="node1" presStyleIdx="2" presStyleCnt="4">
        <dgm:presLayoutVars>
          <dgm:chMax val="0"/>
          <dgm:chPref val="0"/>
          <dgm:bulletEnabled val="1"/>
        </dgm:presLayoutVars>
      </dgm:prSet>
      <dgm:spPr/>
    </dgm:pt>
    <dgm:pt modelId="{E9F00621-A88F-4083-8232-52938AF0C990}" type="pres">
      <dgm:prSet presAssocID="{06DA3134-3FF6-4391-8912-E2EA152871B5}" presName="quad4" presStyleLbl="node1" presStyleIdx="3" presStyleCnt="4">
        <dgm:presLayoutVars>
          <dgm:chMax val="0"/>
          <dgm:chPref val="0"/>
          <dgm:bulletEnabled val="1"/>
        </dgm:presLayoutVars>
      </dgm:prSet>
      <dgm:spPr/>
    </dgm:pt>
  </dgm:ptLst>
  <dgm:cxnLst>
    <dgm:cxn modelId="{804D8F4C-FB4C-4E4A-A637-77F8D7837ED7}" type="presOf" srcId="{AAA676CB-6DAF-47CB-B3AF-E8C6557BA8F2}" destId="{44FB8E86-0991-40E3-8E3C-DA7AB1202103}" srcOrd="0" destOrd="0" presId="urn:microsoft.com/office/officeart/2005/8/layout/matrix3"/>
    <dgm:cxn modelId="{C063227D-0D5C-48E6-9028-852DDA42B4DC}" srcId="{06DA3134-3FF6-4391-8912-E2EA152871B5}" destId="{47F8205E-C20E-4162-BF23-A66DD5A0DB11}" srcOrd="0" destOrd="0" parTransId="{AFB25653-331B-4A31-9E92-73F78EC88938}" sibTransId="{6AE7D391-EFF1-4010-B94C-68EE685BE086}"/>
    <dgm:cxn modelId="{08CE99B1-3DCD-4537-84B0-9E8C9529A096}" type="presOf" srcId="{1237E638-3716-4456-BC90-8C3AD8E2CD26}" destId="{E9F00621-A88F-4083-8232-52938AF0C990}" srcOrd="0" destOrd="0" presId="urn:microsoft.com/office/officeart/2005/8/layout/matrix3"/>
    <dgm:cxn modelId="{1BC222BC-87F2-4580-8FE6-3385927002AD}" type="presOf" srcId="{06DA3134-3FF6-4391-8912-E2EA152871B5}" destId="{B4BAEFB1-2908-4A9A-AABD-0C74B419DDDC}" srcOrd="0" destOrd="0" presId="urn:microsoft.com/office/officeart/2005/8/layout/matrix3"/>
    <dgm:cxn modelId="{B0F028C1-BFDE-4230-AB29-D23F802E5743}" srcId="{06DA3134-3FF6-4391-8912-E2EA152871B5}" destId="{8300D6B6-9180-4E60-8CA7-E8DF8AAF1F8B}" srcOrd="2" destOrd="0" parTransId="{5F865D30-9B5A-4EDF-B2AE-7888542B0075}" sibTransId="{3C6F9981-133E-4AC1-83B9-2D23605D295F}"/>
    <dgm:cxn modelId="{4C8141E5-8327-490D-800E-C63A2C0936DE}" type="presOf" srcId="{8300D6B6-9180-4E60-8CA7-E8DF8AAF1F8B}" destId="{49727C9C-3DF7-4721-94CD-DC75E839A7C9}" srcOrd="0" destOrd="0" presId="urn:microsoft.com/office/officeart/2005/8/layout/matrix3"/>
    <dgm:cxn modelId="{A0D41FE8-4355-45F7-B431-064F5945B8A0}" type="presOf" srcId="{47F8205E-C20E-4162-BF23-A66DD5A0DB11}" destId="{1883C145-B791-4FDD-8403-C092054F5CF7}" srcOrd="0" destOrd="0" presId="urn:microsoft.com/office/officeart/2005/8/layout/matrix3"/>
    <dgm:cxn modelId="{6BEA96EE-1940-4295-83DC-6714106894A8}" srcId="{06DA3134-3FF6-4391-8912-E2EA152871B5}" destId="{1237E638-3716-4456-BC90-8C3AD8E2CD26}" srcOrd="3" destOrd="0" parTransId="{CA51BFD7-7EC4-4C84-AE7A-F9127F476712}" sibTransId="{DF969C0C-4DF4-48D1-A4D7-97A1B2B10B16}"/>
    <dgm:cxn modelId="{F7FBCEF4-D11E-4673-B4F7-4D4F20EF254F}" srcId="{06DA3134-3FF6-4391-8912-E2EA152871B5}" destId="{AAA676CB-6DAF-47CB-B3AF-E8C6557BA8F2}" srcOrd="1" destOrd="0" parTransId="{DD4E279C-8050-4D3E-A453-BFFA565C9B5C}" sibTransId="{76CE465F-8067-449A-BF57-03CF6113F3D4}"/>
    <dgm:cxn modelId="{D7363885-E2DF-4091-B402-050ACE45E11C}" type="presParOf" srcId="{B4BAEFB1-2908-4A9A-AABD-0C74B419DDDC}" destId="{65D4F584-5C2E-4843-8156-043E67C0EB04}" srcOrd="0" destOrd="0" presId="urn:microsoft.com/office/officeart/2005/8/layout/matrix3"/>
    <dgm:cxn modelId="{7E5812E2-88D1-463C-8CF2-D09401B18D34}" type="presParOf" srcId="{B4BAEFB1-2908-4A9A-AABD-0C74B419DDDC}" destId="{1883C145-B791-4FDD-8403-C092054F5CF7}" srcOrd="1" destOrd="0" presId="urn:microsoft.com/office/officeart/2005/8/layout/matrix3"/>
    <dgm:cxn modelId="{C761015C-B3C6-4D50-9A2E-E0B1476AF6BD}" type="presParOf" srcId="{B4BAEFB1-2908-4A9A-AABD-0C74B419DDDC}" destId="{44FB8E86-0991-40E3-8E3C-DA7AB1202103}" srcOrd="2" destOrd="0" presId="urn:microsoft.com/office/officeart/2005/8/layout/matrix3"/>
    <dgm:cxn modelId="{50D87794-70A9-4976-9920-BB8895C50057}" type="presParOf" srcId="{B4BAEFB1-2908-4A9A-AABD-0C74B419DDDC}" destId="{49727C9C-3DF7-4721-94CD-DC75E839A7C9}" srcOrd="3" destOrd="0" presId="urn:microsoft.com/office/officeart/2005/8/layout/matrix3"/>
    <dgm:cxn modelId="{7F48C5A5-522A-4FF7-B8B6-093855CD437F}" type="presParOf" srcId="{B4BAEFB1-2908-4A9A-AABD-0C74B419DDDC}" destId="{E9F00621-A88F-4083-8232-52938AF0C990}"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933674C-4290-42B7-AF47-6EE61E1C3C28}" type="doc">
      <dgm:prSet loTypeId="urn:microsoft.com/office/officeart/2016/7/layout/RoundedRectangleTimeline" loCatId="process" qsTypeId="urn:microsoft.com/office/officeart/2005/8/quickstyle/simple1" qsCatId="simple" csTypeId="urn:microsoft.com/office/officeart/2005/8/colors/colorful1" csCatId="colorful" phldr="1"/>
      <dgm:spPr/>
      <dgm:t>
        <a:bodyPr/>
        <a:lstStyle/>
        <a:p>
          <a:endParaRPr lang="en-US"/>
        </a:p>
      </dgm:t>
    </dgm:pt>
    <dgm:pt modelId="{CE8FFBC8-E2BA-47DA-9E56-BC017E100402}">
      <dgm:prSet/>
      <dgm:spPr>
        <a:solidFill>
          <a:srgbClr val="001F60"/>
        </a:solidFill>
        <a:ln>
          <a:solidFill>
            <a:srgbClr val="001F60"/>
          </a:solidFill>
        </a:ln>
      </dgm:spPr>
      <dgm:t>
        <a:bodyPr/>
        <a:lstStyle/>
        <a:p>
          <a:r>
            <a:rPr lang="en-US"/>
            <a:t>Feb. 2013</a:t>
          </a:r>
        </a:p>
      </dgm:t>
    </dgm:pt>
    <dgm:pt modelId="{ED72FA2A-DDBD-4B15-B7C1-ED29DD27BE6C}" type="parTrans" cxnId="{2151ED4A-379D-4A94-8242-A6428EC23F84}">
      <dgm:prSet/>
      <dgm:spPr/>
      <dgm:t>
        <a:bodyPr/>
        <a:lstStyle/>
        <a:p>
          <a:endParaRPr lang="en-US"/>
        </a:p>
      </dgm:t>
    </dgm:pt>
    <dgm:pt modelId="{E5DD65D9-4D81-4A76-B0AC-C96CA8632279}" type="sibTrans" cxnId="{2151ED4A-379D-4A94-8242-A6428EC23F84}">
      <dgm:prSet/>
      <dgm:spPr/>
      <dgm:t>
        <a:bodyPr/>
        <a:lstStyle/>
        <a:p>
          <a:endParaRPr lang="en-US"/>
        </a:p>
      </dgm:t>
    </dgm:pt>
    <dgm:pt modelId="{EB65F050-0746-49E3-9843-A6F45049196C}">
      <dgm:prSet/>
      <dgm:spPr/>
      <dgm:t>
        <a:bodyPr/>
        <a:lstStyle/>
        <a:p>
          <a:r>
            <a:rPr lang="de-DE" dirty="0"/>
            <a:t>Vehicle EE </a:t>
          </a:r>
          <a:r>
            <a:rPr lang="de-DE" dirty="0" err="1"/>
            <a:t>label</a:t>
          </a:r>
          <a:r>
            <a:rPr lang="de-DE" dirty="0"/>
            <a:t> </a:t>
          </a:r>
          <a:r>
            <a:rPr lang="de-DE" dirty="0" err="1"/>
            <a:t>validity</a:t>
          </a:r>
          <a:r>
            <a:rPr lang="de-DE" dirty="0"/>
            <a:t>. Light </a:t>
          </a:r>
          <a:r>
            <a:rPr lang="de-DE" dirty="0" err="1"/>
            <a:t>vehicles</a:t>
          </a:r>
          <a:r>
            <a:rPr lang="de-DE" dirty="0"/>
            <a:t>.</a:t>
          </a:r>
          <a:endParaRPr lang="en-US" dirty="0"/>
        </a:p>
      </dgm:t>
    </dgm:pt>
    <dgm:pt modelId="{755BA2A8-D0AB-46C9-B8CF-ADFE64C9E888}" type="parTrans" cxnId="{EABD0CB6-D244-41EB-88D0-0A833939D4EC}">
      <dgm:prSet/>
      <dgm:spPr/>
      <dgm:t>
        <a:bodyPr/>
        <a:lstStyle/>
        <a:p>
          <a:endParaRPr lang="en-US"/>
        </a:p>
      </dgm:t>
    </dgm:pt>
    <dgm:pt modelId="{CB64B9BA-97CD-49C5-B540-E83A1B367D8E}" type="sibTrans" cxnId="{EABD0CB6-D244-41EB-88D0-0A833939D4EC}">
      <dgm:prSet/>
      <dgm:spPr/>
      <dgm:t>
        <a:bodyPr/>
        <a:lstStyle/>
        <a:p>
          <a:endParaRPr lang="en-US"/>
        </a:p>
      </dgm:t>
    </dgm:pt>
    <dgm:pt modelId="{32937003-63D0-4FDC-9666-4B319A3B4D99}">
      <dgm:prSet/>
      <dgm:spPr>
        <a:solidFill>
          <a:srgbClr val="001F60"/>
        </a:solidFill>
        <a:ln>
          <a:solidFill>
            <a:srgbClr val="001F60"/>
          </a:solidFill>
        </a:ln>
      </dgm:spPr>
      <dgm:t>
        <a:bodyPr/>
        <a:lstStyle/>
        <a:p>
          <a:r>
            <a:rPr lang="en-US"/>
            <a:t>Jun. 2017</a:t>
          </a:r>
        </a:p>
      </dgm:t>
    </dgm:pt>
    <dgm:pt modelId="{E4BC9C80-2619-4B37-98D9-B853F2A9F1C5}" type="parTrans" cxnId="{03292CC5-215D-4FBC-B827-695EFB4B9954}">
      <dgm:prSet/>
      <dgm:spPr/>
      <dgm:t>
        <a:bodyPr/>
        <a:lstStyle/>
        <a:p>
          <a:endParaRPr lang="en-US"/>
        </a:p>
      </dgm:t>
    </dgm:pt>
    <dgm:pt modelId="{B91B7E21-CF4D-4D85-824E-CFC64C024D9B}" type="sibTrans" cxnId="{03292CC5-215D-4FBC-B827-695EFB4B9954}">
      <dgm:prSet/>
      <dgm:spPr/>
      <dgm:t>
        <a:bodyPr/>
        <a:lstStyle/>
        <a:p>
          <a:endParaRPr lang="en-US"/>
        </a:p>
      </dgm:t>
    </dgm:pt>
    <dgm:pt modelId="{BA21C4A7-E6BA-4EFE-8BD0-32F124BDDDBD}">
      <dgm:prSet/>
      <dgm:spPr/>
      <dgm:t>
        <a:bodyPr/>
        <a:lstStyle/>
        <a:p>
          <a:r>
            <a:rPr lang="en-US" dirty="0"/>
            <a:t>Validity of the EE Vehicle Label. Medium vehicles.</a:t>
          </a:r>
        </a:p>
      </dgm:t>
    </dgm:pt>
    <dgm:pt modelId="{A958AE09-ACE6-4796-A101-3DF379BA7FA9}" type="parTrans" cxnId="{12B8DB2C-AB79-409D-AD94-D7D8E43E4475}">
      <dgm:prSet/>
      <dgm:spPr/>
      <dgm:t>
        <a:bodyPr/>
        <a:lstStyle/>
        <a:p>
          <a:endParaRPr lang="en-US"/>
        </a:p>
      </dgm:t>
    </dgm:pt>
    <dgm:pt modelId="{4F01E7F4-2C52-4DED-9A8C-C79A192A618C}" type="sibTrans" cxnId="{12B8DB2C-AB79-409D-AD94-D7D8E43E4475}">
      <dgm:prSet/>
      <dgm:spPr/>
      <dgm:t>
        <a:bodyPr/>
        <a:lstStyle/>
        <a:p>
          <a:endParaRPr lang="en-US"/>
        </a:p>
      </dgm:t>
    </dgm:pt>
    <dgm:pt modelId="{501F7932-FC98-41F8-A403-0E1BF3B99541}">
      <dgm:prSet/>
      <dgm:spPr>
        <a:solidFill>
          <a:srgbClr val="68B0AB"/>
        </a:solidFill>
        <a:ln>
          <a:solidFill>
            <a:srgbClr val="68B0AB"/>
          </a:solidFill>
        </a:ln>
      </dgm:spPr>
      <dgm:t>
        <a:bodyPr/>
        <a:lstStyle/>
        <a:p>
          <a:r>
            <a:rPr lang="en-US" b="0"/>
            <a:t>Sept. 2018</a:t>
          </a:r>
        </a:p>
      </dgm:t>
    </dgm:pt>
    <dgm:pt modelId="{7365D153-497B-49C4-BB32-CAA611F9CA43}" type="parTrans" cxnId="{EA607902-9BF8-46FF-AAA2-05968A519330}">
      <dgm:prSet/>
      <dgm:spPr/>
      <dgm:t>
        <a:bodyPr/>
        <a:lstStyle/>
        <a:p>
          <a:endParaRPr lang="en-US"/>
        </a:p>
      </dgm:t>
    </dgm:pt>
    <dgm:pt modelId="{23A4C872-C752-4CBB-B820-62B4332BF915}" type="sibTrans" cxnId="{EA607902-9BF8-46FF-AAA2-05968A519330}">
      <dgm:prSet/>
      <dgm:spPr/>
      <dgm:t>
        <a:bodyPr/>
        <a:lstStyle/>
        <a:p>
          <a:endParaRPr lang="en-US"/>
        </a:p>
      </dgm:t>
    </dgm:pt>
    <dgm:pt modelId="{7D3675B4-3075-46CC-AB37-C0CE38589862}">
      <dgm:prSet/>
      <dgm:spPr/>
      <dgm:t>
        <a:bodyPr/>
        <a:lstStyle/>
        <a:p>
          <a:r>
            <a:rPr lang="en-US" b="0" dirty="0"/>
            <a:t>Energy efficiency policy entering Congress</a:t>
          </a:r>
        </a:p>
      </dgm:t>
    </dgm:pt>
    <dgm:pt modelId="{682E30EA-7044-46DF-A1E1-7B007EE52EFE}" type="parTrans" cxnId="{7D1F6090-CEB5-46F5-B867-92595F0C0FD5}">
      <dgm:prSet/>
      <dgm:spPr/>
      <dgm:t>
        <a:bodyPr/>
        <a:lstStyle/>
        <a:p>
          <a:endParaRPr lang="en-US"/>
        </a:p>
      </dgm:t>
    </dgm:pt>
    <dgm:pt modelId="{B71A92AC-EDD9-42DA-B336-12AA86C03EFE}" type="sibTrans" cxnId="{7D1F6090-CEB5-46F5-B867-92595F0C0FD5}">
      <dgm:prSet/>
      <dgm:spPr/>
      <dgm:t>
        <a:bodyPr/>
        <a:lstStyle/>
        <a:p>
          <a:endParaRPr lang="en-US"/>
        </a:p>
      </dgm:t>
    </dgm:pt>
    <dgm:pt modelId="{A336B9F0-4628-42CC-8778-7C238F760089}">
      <dgm:prSet/>
      <dgm:spPr>
        <a:solidFill>
          <a:srgbClr val="68B0AB"/>
        </a:solidFill>
        <a:ln>
          <a:solidFill>
            <a:srgbClr val="68B0AB"/>
          </a:solidFill>
        </a:ln>
      </dgm:spPr>
      <dgm:t>
        <a:bodyPr/>
        <a:lstStyle/>
        <a:p>
          <a:r>
            <a:rPr lang="en-US" b="0"/>
            <a:t>Feb. 2021</a:t>
          </a:r>
        </a:p>
      </dgm:t>
    </dgm:pt>
    <dgm:pt modelId="{6362C794-5B89-4CFA-AB8E-FBA3F222C00F}" type="parTrans" cxnId="{5F2F8725-58FA-4BD1-80A5-A7675C22875B}">
      <dgm:prSet/>
      <dgm:spPr/>
      <dgm:t>
        <a:bodyPr/>
        <a:lstStyle/>
        <a:p>
          <a:endParaRPr lang="en-US"/>
        </a:p>
      </dgm:t>
    </dgm:pt>
    <dgm:pt modelId="{4B2572B2-EEEC-4C64-A550-F3D53437A0A1}" type="sibTrans" cxnId="{5F2F8725-58FA-4BD1-80A5-A7675C22875B}">
      <dgm:prSet/>
      <dgm:spPr/>
      <dgm:t>
        <a:bodyPr/>
        <a:lstStyle/>
        <a:p>
          <a:endParaRPr lang="en-US"/>
        </a:p>
      </dgm:t>
    </dgm:pt>
    <dgm:pt modelId="{6B06414B-420D-4712-9CE8-3D5FBCA2C995}">
      <dgm:prSet/>
      <dgm:spPr/>
      <dgm:t>
        <a:bodyPr/>
        <a:lstStyle/>
        <a:p>
          <a:r>
            <a:rPr lang="en-US" b="1" dirty="0"/>
            <a:t>Publication of the Energy Efficiency Law.</a:t>
          </a:r>
        </a:p>
      </dgm:t>
    </dgm:pt>
    <dgm:pt modelId="{DE621301-F923-45AC-ADDF-074E0E63E201}" type="parTrans" cxnId="{5ABFC0E1-D710-4637-9EB2-BB07602D92F7}">
      <dgm:prSet/>
      <dgm:spPr/>
      <dgm:t>
        <a:bodyPr/>
        <a:lstStyle/>
        <a:p>
          <a:endParaRPr lang="en-US"/>
        </a:p>
      </dgm:t>
    </dgm:pt>
    <dgm:pt modelId="{192804D4-C6DD-4C5A-B317-1077756EFC4D}" type="sibTrans" cxnId="{5ABFC0E1-D710-4637-9EB2-BB07602D92F7}">
      <dgm:prSet/>
      <dgm:spPr/>
      <dgm:t>
        <a:bodyPr/>
        <a:lstStyle/>
        <a:p>
          <a:endParaRPr lang="en-US"/>
        </a:p>
      </dgm:t>
    </dgm:pt>
    <dgm:pt modelId="{3F7A9B2D-A9D1-4AD3-95BC-056D64B1A9BA}">
      <dgm:prSet/>
      <dgm:spPr>
        <a:solidFill>
          <a:srgbClr val="00B050"/>
        </a:solidFill>
        <a:ln>
          <a:solidFill>
            <a:srgbClr val="00B050"/>
          </a:solidFill>
        </a:ln>
      </dgm:spPr>
      <dgm:t>
        <a:bodyPr/>
        <a:lstStyle/>
        <a:p>
          <a:r>
            <a:rPr lang="en-US" b="1"/>
            <a:t>2024</a:t>
          </a:r>
        </a:p>
      </dgm:t>
    </dgm:pt>
    <dgm:pt modelId="{2318A579-14C4-4E3A-B398-29BD9B706537}" type="parTrans" cxnId="{0EBE815F-D6F5-4BE3-A657-D69FE2BCCABD}">
      <dgm:prSet/>
      <dgm:spPr/>
      <dgm:t>
        <a:bodyPr/>
        <a:lstStyle/>
        <a:p>
          <a:endParaRPr lang="en-US"/>
        </a:p>
      </dgm:t>
    </dgm:pt>
    <dgm:pt modelId="{AD5FE1A1-8009-46F4-933C-69B3995A1C1D}" type="sibTrans" cxnId="{0EBE815F-D6F5-4BE3-A657-D69FE2BCCABD}">
      <dgm:prSet/>
      <dgm:spPr/>
      <dgm:t>
        <a:bodyPr/>
        <a:lstStyle/>
        <a:p>
          <a:endParaRPr lang="en-US"/>
        </a:p>
      </dgm:t>
    </dgm:pt>
    <dgm:pt modelId="{97D12A91-DFC2-4B57-818E-2D8A1D21340A}">
      <dgm:prSet/>
      <dgm:spPr/>
      <dgm:t>
        <a:bodyPr/>
        <a:lstStyle/>
        <a:p>
          <a:r>
            <a:rPr lang="en-US" b="0" dirty="0"/>
            <a:t>February: light vehicles entry into force.
April: Publication of Resolution No. 14 that sets the standard for medium-sized vehicles</a:t>
          </a:r>
        </a:p>
      </dgm:t>
    </dgm:pt>
    <dgm:pt modelId="{9C8787AB-050B-468F-B201-7DB3835F9DE0}" type="parTrans" cxnId="{D2C10991-31AD-4AD8-886C-7106F963A72C}">
      <dgm:prSet/>
      <dgm:spPr/>
      <dgm:t>
        <a:bodyPr/>
        <a:lstStyle/>
        <a:p>
          <a:endParaRPr lang="en-US"/>
        </a:p>
      </dgm:t>
    </dgm:pt>
    <dgm:pt modelId="{CE20BF21-5E6D-4A06-91D9-5903A9E72408}" type="sibTrans" cxnId="{D2C10991-31AD-4AD8-886C-7106F963A72C}">
      <dgm:prSet/>
      <dgm:spPr/>
      <dgm:t>
        <a:bodyPr/>
        <a:lstStyle/>
        <a:p>
          <a:endParaRPr lang="en-US"/>
        </a:p>
      </dgm:t>
    </dgm:pt>
    <dgm:pt modelId="{AEC5F47F-638D-4F1A-A12F-ACAC6CC45D6C}">
      <dgm:prSet/>
      <dgm:spPr>
        <a:solidFill>
          <a:srgbClr val="00B050"/>
        </a:solidFill>
        <a:ln>
          <a:solidFill>
            <a:srgbClr val="00B050"/>
          </a:solidFill>
        </a:ln>
      </dgm:spPr>
      <dgm:t>
        <a:bodyPr/>
        <a:lstStyle/>
        <a:p>
          <a:r>
            <a:rPr lang="en-US" b="0"/>
            <a:t>2028</a:t>
          </a:r>
        </a:p>
      </dgm:t>
    </dgm:pt>
    <dgm:pt modelId="{4261E339-ED49-4B31-ABAB-E81A9A100A1E}" type="parTrans" cxnId="{C611D62C-3B2D-45C3-A005-27A0E79C96D6}">
      <dgm:prSet/>
      <dgm:spPr/>
      <dgm:t>
        <a:bodyPr/>
        <a:lstStyle/>
        <a:p>
          <a:endParaRPr lang="en-US"/>
        </a:p>
      </dgm:t>
    </dgm:pt>
    <dgm:pt modelId="{FC005279-E39B-42FD-AB00-06BB06754698}" type="sibTrans" cxnId="{C611D62C-3B2D-45C3-A005-27A0E79C96D6}">
      <dgm:prSet/>
      <dgm:spPr/>
      <dgm:t>
        <a:bodyPr/>
        <a:lstStyle/>
        <a:p>
          <a:endParaRPr lang="en-US"/>
        </a:p>
      </dgm:t>
    </dgm:pt>
    <dgm:pt modelId="{45D294F7-8786-48D3-9B1C-D35D8773E3D9}">
      <dgm:prSet/>
      <dgm:spPr/>
      <dgm:t>
        <a:bodyPr/>
        <a:lstStyle/>
        <a:p>
          <a:r>
            <a:rPr lang="en-US" b="0" dirty="0"/>
            <a:t>Deadline for entry into force of the heavy vehicle standard</a:t>
          </a:r>
        </a:p>
      </dgm:t>
    </dgm:pt>
    <dgm:pt modelId="{2BFF1500-0DDA-46AB-8175-942296D6EEFA}" type="parTrans" cxnId="{64E67690-7551-467A-B97D-9045B30A9B8B}">
      <dgm:prSet/>
      <dgm:spPr/>
      <dgm:t>
        <a:bodyPr/>
        <a:lstStyle/>
        <a:p>
          <a:endParaRPr lang="en-US"/>
        </a:p>
      </dgm:t>
    </dgm:pt>
    <dgm:pt modelId="{C161F37E-DE6C-4911-BF1A-EC33FB6D5529}" type="sibTrans" cxnId="{64E67690-7551-467A-B97D-9045B30A9B8B}">
      <dgm:prSet/>
      <dgm:spPr/>
      <dgm:t>
        <a:bodyPr/>
        <a:lstStyle/>
        <a:p>
          <a:endParaRPr lang="en-US"/>
        </a:p>
      </dgm:t>
    </dgm:pt>
    <dgm:pt modelId="{0A6B3A7F-D990-4374-92A8-3085422F9BBF}">
      <dgm:prSet/>
      <dgm:spPr>
        <a:solidFill>
          <a:srgbClr val="00B050"/>
        </a:solidFill>
        <a:ln>
          <a:solidFill>
            <a:srgbClr val="00B050"/>
          </a:solidFill>
        </a:ln>
      </dgm:spPr>
      <dgm:t>
        <a:bodyPr/>
        <a:lstStyle/>
        <a:p>
          <a:r>
            <a:rPr lang="en-US"/>
            <a:t>2026</a:t>
          </a:r>
        </a:p>
      </dgm:t>
    </dgm:pt>
    <dgm:pt modelId="{F4241D84-C1A8-415A-9B97-6953BFBEBE44}" type="parTrans" cxnId="{5D2EB90D-0059-46DC-8000-E9A3038A55BD}">
      <dgm:prSet/>
      <dgm:spPr/>
      <dgm:t>
        <a:bodyPr/>
        <a:lstStyle/>
        <a:p>
          <a:endParaRPr lang="es-CL"/>
        </a:p>
      </dgm:t>
    </dgm:pt>
    <dgm:pt modelId="{FE791B7C-5C81-47E0-A35E-FA36AB967D9E}" type="sibTrans" cxnId="{5D2EB90D-0059-46DC-8000-E9A3038A55BD}">
      <dgm:prSet/>
      <dgm:spPr/>
      <dgm:t>
        <a:bodyPr/>
        <a:lstStyle/>
        <a:p>
          <a:endParaRPr lang="es-CL"/>
        </a:p>
      </dgm:t>
    </dgm:pt>
    <dgm:pt modelId="{DF6C0C9C-440A-4BE0-A1D4-BDBBA2121361}">
      <dgm:prSet/>
      <dgm:spPr/>
      <dgm:t>
        <a:bodyPr/>
        <a:lstStyle/>
        <a:p>
          <a:r>
            <a:rPr lang="en-US" dirty="0"/>
            <a:t>Feb: standard publication v. heavy.
April: entry into force v. medium.</a:t>
          </a:r>
        </a:p>
      </dgm:t>
    </dgm:pt>
    <dgm:pt modelId="{2856E338-3A34-49BC-8BFD-FC5BCD4EDE9B}" type="parTrans" cxnId="{1064DC57-9512-47E8-AA38-46AE6C2A3E6C}">
      <dgm:prSet/>
      <dgm:spPr/>
      <dgm:t>
        <a:bodyPr/>
        <a:lstStyle/>
        <a:p>
          <a:endParaRPr lang="es-CL"/>
        </a:p>
      </dgm:t>
    </dgm:pt>
    <dgm:pt modelId="{688EFA42-9586-43DB-BABE-9A7E5E2FCB69}" type="sibTrans" cxnId="{1064DC57-9512-47E8-AA38-46AE6C2A3E6C}">
      <dgm:prSet/>
      <dgm:spPr/>
      <dgm:t>
        <a:bodyPr/>
        <a:lstStyle/>
        <a:p>
          <a:endParaRPr lang="es-CL"/>
        </a:p>
      </dgm:t>
    </dgm:pt>
    <dgm:pt modelId="{EBF958DC-45D1-43FA-ABB8-1B6A4090878F}">
      <dgm:prSet phldr="0"/>
      <dgm:spPr>
        <a:solidFill>
          <a:srgbClr val="00B050"/>
        </a:solidFill>
        <a:ln>
          <a:solidFill>
            <a:srgbClr val="00B050"/>
          </a:solidFill>
        </a:ln>
      </dgm:spPr>
      <dgm:t>
        <a:bodyPr/>
        <a:lstStyle/>
        <a:p>
          <a:pPr rtl="0"/>
          <a:r>
            <a:rPr lang="en-US" b="0">
              <a:latin typeface="Poppins"/>
            </a:rPr>
            <a:t>Feb. 2022</a:t>
          </a:r>
        </a:p>
      </dgm:t>
    </dgm:pt>
    <dgm:pt modelId="{9712E9A8-3339-4D76-97C6-60301B9584D8}" type="parTrans" cxnId="{8270740E-7C3A-4CDF-A7EA-9CB3D815369F}">
      <dgm:prSet/>
      <dgm:spPr/>
      <dgm:t>
        <a:bodyPr/>
        <a:lstStyle/>
        <a:p>
          <a:endParaRPr lang="es-CL"/>
        </a:p>
      </dgm:t>
    </dgm:pt>
    <dgm:pt modelId="{ED0076A6-2648-48C2-AA38-D2680A2AC8D8}" type="sibTrans" cxnId="{8270740E-7C3A-4CDF-A7EA-9CB3D815369F}">
      <dgm:prSet/>
      <dgm:spPr/>
      <dgm:t>
        <a:bodyPr/>
        <a:lstStyle/>
        <a:p>
          <a:endParaRPr lang="es-CL"/>
        </a:p>
      </dgm:t>
    </dgm:pt>
    <dgm:pt modelId="{B79AA00B-786D-4FC7-A28F-4526FEAEE60E}">
      <dgm:prSet phldr="0"/>
      <dgm:spPr/>
      <dgm:t>
        <a:bodyPr/>
        <a:lstStyle/>
        <a:p>
          <a:pPr rtl="0"/>
          <a:r>
            <a:rPr lang="en-US" dirty="0"/>
            <a:t>Publication of Resolution N°5 that sets standards for light vehicles.</a:t>
          </a:r>
          <a:endParaRPr lang="en-US" b="0" dirty="0">
            <a:latin typeface="Poppins"/>
          </a:endParaRPr>
        </a:p>
      </dgm:t>
    </dgm:pt>
    <dgm:pt modelId="{3223005F-434F-4025-B744-1090B2BB222D}" type="parTrans" cxnId="{4C3A8007-72BC-4708-BCF2-BBDEE0C6F2FE}">
      <dgm:prSet/>
      <dgm:spPr/>
      <dgm:t>
        <a:bodyPr/>
        <a:lstStyle/>
        <a:p>
          <a:endParaRPr lang="es-CL"/>
        </a:p>
      </dgm:t>
    </dgm:pt>
    <dgm:pt modelId="{8457B18D-E505-4EB1-B848-317953D6AD9D}" type="sibTrans" cxnId="{4C3A8007-72BC-4708-BCF2-BBDEE0C6F2FE}">
      <dgm:prSet/>
      <dgm:spPr/>
      <dgm:t>
        <a:bodyPr/>
        <a:lstStyle/>
        <a:p>
          <a:endParaRPr lang="es-CL"/>
        </a:p>
      </dgm:t>
    </dgm:pt>
    <dgm:pt modelId="{EA1395A7-BABE-4F03-AD5D-2266326D3D03}">
      <dgm:prSet/>
      <dgm:spPr>
        <a:solidFill>
          <a:srgbClr val="001F60"/>
        </a:solidFill>
        <a:ln>
          <a:solidFill>
            <a:srgbClr val="001F60"/>
          </a:solidFill>
        </a:ln>
      </dgm:spPr>
      <dgm:t>
        <a:bodyPr/>
        <a:lstStyle/>
        <a:p>
          <a:r>
            <a:rPr lang="en-US" dirty="0"/>
            <a:t>Aug. 2012</a:t>
          </a:r>
        </a:p>
      </dgm:t>
    </dgm:pt>
    <dgm:pt modelId="{399B732E-66B7-4B5D-A1C6-951D63ADD3BB}" type="parTrans" cxnId="{0B6217EC-19BF-47AB-AA8C-BF268080F830}">
      <dgm:prSet/>
      <dgm:spPr/>
      <dgm:t>
        <a:bodyPr/>
        <a:lstStyle/>
        <a:p>
          <a:endParaRPr lang="es-CL"/>
        </a:p>
      </dgm:t>
    </dgm:pt>
    <dgm:pt modelId="{8AFBAEDD-7C30-477A-B532-229E595C8384}" type="sibTrans" cxnId="{0B6217EC-19BF-47AB-AA8C-BF268080F830}">
      <dgm:prSet/>
      <dgm:spPr/>
      <dgm:t>
        <a:bodyPr/>
        <a:lstStyle/>
        <a:p>
          <a:endParaRPr lang="es-CL"/>
        </a:p>
      </dgm:t>
    </dgm:pt>
    <dgm:pt modelId="{DB3C4AAD-02E1-403E-95FA-48F65A183B48}">
      <dgm:prSet custT="1"/>
      <dgm:spPr>
        <a:noFill/>
        <a:ln>
          <a:noFill/>
        </a:ln>
        <a:effectLst/>
      </dgm:spPr>
      <dgm:t>
        <a:bodyPr spcFirstLastPara="0" vert="horz" wrap="square" lIns="0" tIns="0" rIns="0" bIns="99060" numCol="1" spcCol="1270" anchor="b" anchorCtr="1"/>
        <a:lstStyle/>
        <a:p>
          <a:pPr marL="0" lvl="0" indent="0" algn="ctr" defTabSz="577850">
            <a:lnSpc>
              <a:spcPct val="90000"/>
            </a:lnSpc>
            <a:spcBef>
              <a:spcPct val="0"/>
            </a:spcBef>
            <a:spcAft>
              <a:spcPct val="35000"/>
            </a:spcAft>
            <a:buNone/>
          </a:pPr>
          <a:r>
            <a:rPr lang="en-US" sz="1300" kern="1200" dirty="0">
              <a:solidFill>
                <a:srgbClr val="001F60">
                  <a:hueOff val="0"/>
                  <a:satOff val="0"/>
                  <a:lumOff val="0"/>
                  <a:alphaOff val="0"/>
                </a:srgbClr>
              </a:solidFill>
              <a:latin typeface="Century Gothic"/>
              <a:ea typeface="+mn-ea"/>
              <a:cs typeface="+mn-cs"/>
            </a:rPr>
            <a:t>D. 61: Vehicle Labeling Regulations.</a:t>
          </a:r>
        </a:p>
      </dgm:t>
    </dgm:pt>
    <dgm:pt modelId="{4B5FE38C-4D15-41E9-8BE5-0F6716FBCD39}" type="parTrans" cxnId="{73FCB680-7F3C-4AAA-B799-4BD1D7DA69EA}">
      <dgm:prSet/>
      <dgm:spPr/>
      <dgm:t>
        <a:bodyPr/>
        <a:lstStyle/>
        <a:p>
          <a:endParaRPr lang="es-CL"/>
        </a:p>
      </dgm:t>
    </dgm:pt>
    <dgm:pt modelId="{D7623F5D-B2F1-406B-BBB8-E7B25CFED5A3}" type="sibTrans" cxnId="{73FCB680-7F3C-4AAA-B799-4BD1D7DA69EA}">
      <dgm:prSet/>
      <dgm:spPr/>
      <dgm:t>
        <a:bodyPr/>
        <a:lstStyle/>
        <a:p>
          <a:endParaRPr lang="es-CL"/>
        </a:p>
      </dgm:t>
    </dgm:pt>
    <dgm:pt modelId="{582E6E34-7EF7-4E8E-8DC8-4DD5129E11B3}" type="pres">
      <dgm:prSet presAssocID="{1933674C-4290-42B7-AF47-6EE61E1C3C28}" presName="Name0" presStyleCnt="0">
        <dgm:presLayoutVars>
          <dgm:chMax/>
          <dgm:chPref/>
          <dgm:animLvl val="lvl"/>
        </dgm:presLayoutVars>
      </dgm:prSet>
      <dgm:spPr/>
    </dgm:pt>
    <dgm:pt modelId="{B8FBED92-F528-4356-A34A-87F36E936788}" type="pres">
      <dgm:prSet presAssocID="{EA1395A7-BABE-4F03-AD5D-2266326D3D03}" presName="composite1" presStyleCnt="0"/>
      <dgm:spPr/>
    </dgm:pt>
    <dgm:pt modelId="{B0FBAA9D-3C98-4312-ABD5-AAC590CA1F4B}" type="pres">
      <dgm:prSet presAssocID="{EA1395A7-BABE-4F03-AD5D-2266326D3D03}" presName="parent1" presStyleLbl="alignNode1" presStyleIdx="0" presStyleCnt="9">
        <dgm:presLayoutVars>
          <dgm:chMax val="1"/>
          <dgm:chPref val="1"/>
          <dgm:bulletEnabled val="1"/>
        </dgm:presLayoutVars>
      </dgm:prSet>
      <dgm:spPr/>
    </dgm:pt>
    <dgm:pt modelId="{9D875279-7F85-451B-AA08-DCB5C149A1E7}" type="pres">
      <dgm:prSet presAssocID="{EA1395A7-BABE-4F03-AD5D-2266326D3D03}" presName="Childtext1" presStyleLbl="revTx" presStyleIdx="0" presStyleCnt="9">
        <dgm:presLayoutVars>
          <dgm:bulletEnabled val="1"/>
        </dgm:presLayoutVars>
      </dgm:prSet>
      <dgm:spPr>
        <a:xfrm>
          <a:off x="1540" y="0"/>
          <a:ext cx="1812503" cy="1522968"/>
        </a:xfrm>
        <a:prstGeom prst="rect">
          <a:avLst/>
        </a:prstGeom>
      </dgm:spPr>
    </dgm:pt>
    <dgm:pt modelId="{4A3D8B02-1214-46CE-8A43-CE419735DC67}" type="pres">
      <dgm:prSet presAssocID="{EA1395A7-BABE-4F03-AD5D-2266326D3D03}" presName="ConnectLine1" presStyleLbl="sibTrans1D1" presStyleIdx="0" presStyleCnt="9"/>
      <dgm:spPr>
        <a:noFill/>
        <a:ln w="6350" cap="flat" cmpd="sng" algn="ctr">
          <a:solidFill>
            <a:srgbClr val="001F60"/>
          </a:solidFill>
          <a:prstDash val="dash"/>
          <a:miter lim="800000"/>
        </a:ln>
        <a:effectLst/>
      </dgm:spPr>
    </dgm:pt>
    <dgm:pt modelId="{2C15677D-C56F-46EC-92F5-8582B34D741B}" type="pres">
      <dgm:prSet presAssocID="{EA1395A7-BABE-4F03-AD5D-2266326D3D03}" presName="ConnectLineEnd1" presStyleLbl="lnNode1" presStyleIdx="0" presStyleCnt="9"/>
      <dgm:spPr>
        <a:solidFill>
          <a:srgbClr val="001F60"/>
        </a:solidFill>
        <a:ln>
          <a:solidFill>
            <a:srgbClr val="001F60"/>
          </a:solidFill>
        </a:ln>
      </dgm:spPr>
    </dgm:pt>
    <dgm:pt modelId="{9374628A-9096-4DE9-BB86-A1F6F3582EB5}" type="pres">
      <dgm:prSet presAssocID="{EA1395A7-BABE-4F03-AD5D-2266326D3D03}" presName="EmptyPane1" presStyleCnt="0"/>
      <dgm:spPr/>
    </dgm:pt>
    <dgm:pt modelId="{84E7C9CA-F6AA-46DF-9FA1-C3D3B8BC96BF}" type="pres">
      <dgm:prSet presAssocID="{8AFBAEDD-7C30-477A-B532-229E595C8384}" presName="spaceBetweenRectangles1" presStyleCnt="0"/>
      <dgm:spPr/>
    </dgm:pt>
    <dgm:pt modelId="{B6601F5E-6E50-4D53-B6F8-A4C229DDDE65}" type="pres">
      <dgm:prSet presAssocID="{CE8FFBC8-E2BA-47DA-9E56-BC017E100402}" presName="composite1" presStyleCnt="0"/>
      <dgm:spPr/>
    </dgm:pt>
    <dgm:pt modelId="{CA993503-35AA-4DE5-9382-1AE376E2B913}" type="pres">
      <dgm:prSet presAssocID="{CE8FFBC8-E2BA-47DA-9E56-BC017E100402}" presName="parent1" presStyleLbl="alignNode1" presStyleIdx="1" presStyleCnt="9">
        <dgm:presLayoutVars>
          <dgm:chMax val="1"/>
          <dgm:chPref val="1"/>
          <dgm:bulletEnabled val="1"/>
        </dgm:presLayoutVars>
      </dgm:prSet>
      <dgm:spPr/>
    </dgm:pt>
    <dgm:pt modelId="{ACC77FD0-3BD4-4641-AF46-F6078067D98A}" type="pres">
      <dgm:prSet presAssocID="{CE8FFBC8-E2BA-47DA-9E56-BC017E100402}" presName="Childtext1" presStyleLbl="revTx" presStyleIdx="1" presStyleCnt="9">
        <dgm:presLayoutVars>
          <dgm:bulletEnabled val="1"/>
        </dgm:presLayoutVars>
      </dgm:prSet>
      <dgm:spPr/>
    </dgm:pt>
    <dgm:pt modelId="{E1B6C157-3DC8-4DC1-B2D6-0DA5F839CE5B}" type="pres">
      <dgm:prSet presAssocID="{CE8FFBC8-E2BA-47DA-9E56-BC017E100402}" presName="ConnectLine1" presStyleLbl="sibTrans1D1" presStyleIdx="1" presStyleCnt="9"/>
      <dgm:spPr>
        <a:noFill/>
        <a:ln w="6350" cap="flat" cmpd="sng" algn="ctr">
          <a:solidFill>
            <a:srgbClr val="001F60"/>
          </a:solidFill>
          <a:prstDash val="dash"/>
          <a:miter lim="800000"/>
        </a:ln>
        <a:effectLst/>
      </dgm:spPr>
    </dgm:pt>
    <dgm:pt modelId="{4D28EF5E-2DC7-483D-814A-922388E608E1}" type="pres">
      <dgm:prSet presAssocID="{CE8FFBC8-E2BA-47DA-9E56-BC017E100402}" presName="ConnectLineEnd1" presStyleLbl="lnNode1" presStyleIdx="1" presStyleCnt="9"/>
      <dgm:spPr>
        <a:solidFill>
          <a:srgbClr val="001F60"/>
        </a:solidFill>
        <a:ln>
          <a:solidFill>
            <a:srgbClr val="001F60"/>
          </a:solidFill>
        </a:ln>
      </dgm:spPr>
    </dgm:pt>
    <dgm:pt modelId="{42930C36-AAA2-4419-A3AD-9E546C999762}" type="pres">
      <dgm:prSet presAssocID="{CE8FFBC8-E2BA-47DA-9E56-BC017E100402}" presName="EmptyPane1" presStyleCnt="0"/>
      <dgm:spPr/>
    </dgm:pt>
    <dgm:pt modelId="{B8F227CD-8022-433C-AD56-963C3E06F0C4}" type="pres">
      <dgm:prSet presAssocID="{E5DD65D9-4D81-4A76-B0AC-C96CA8632279}" presName="spaceBetweenRectangles1" presStyleCnt="0"/>
      <dgm:spPr/>
    </dgm:pt>
    <dgm:pt modelId="{21BE2410-2557-4311-ABED-4458E88B4538}" type="pres">
      <dgm:prSet presAssocID="{32937003-63D0-4FDC-9666-4B319A3B4D99}" presName="composite1" presStyleCnt="0"/>
      <dgm:spPr/>
    </dgm:pt>
    <dgm:pt modelId="{19B304C7-80EC-40B9-92A7-EE53243978E3}" type="pres">
      <dgm:prSet presAssocID="{32937003-63D0-4FDC-9666-4B319A3B4D99}" presName="parent1" presStyleLbl="alignNode1" presStyleIdx="2" presStyleCnt="9">
        <dgm:presLayoutVars>
          <dgm:chMax val="1"/>
          <dgm:chPref val="1"/>
          <dgm:bulletEnabled val="1"/>
        </dgm:presLayoutVars>
      </dgm:prSet>
      <dgm:spPr/>
    </dgm:pt>
    <dgm:pt modelId="{37DBEC9D-597E-4952-82EA-61209C019F08}" type="pres">
      <dgm:prSet presAssocID="{32937003-63D0-4FDC-9666-4B319A3B4D99}" presName="Childtext1" presStyleLbl="revTx" presStyleIdx="2" presStyleCnt="9">
        <dgm:presLayoutVars>
          <dgm:bulletEnabled val="1"/>
        </dgm:presLayoutVars>
      </dgm:prSet>
      <dgm:spPr/>
    </dgm:pt>
    <dgm:pt modelId="{136FD358-C3D4-4C41-8E55-CF28497117C0}" type="pres">
      <dgm:prSet presAssocID="{32937003-63D0-4FDC-9666-4B319A3B4D99}" presName="ConnectLine1" presStyleLbl="sibTrans1D1" presStyleIdx="2" presStyleCnt="9"/>
      <dgm:spPr>
        <a:noFill/>
        <a:ln w="6350" cap="flat" cmpd="sng" algn="ctr">
          <a:solidFill>
            <a:srgbClr val="001F60"/>
          </a:solidFill>
          <a:prstDash val="dash"/>
          <a:miter lim="800000"/>
        </a:ln>
        <a:effectLst/>
      </dgm:spPr>
    </dgm:pt>
    <dgm:pt modelId="{961F41ED-A44D-43E9-B176-1927CE1B7AAC}" type="pres">
      <dgm:prSet presAssocID="{32937003-63D0-4FDC-9666-4B319A3B4D99}" presName="ConnectLineEnd1" presStyleLbl="lnNode1" presStyleIdx="2" presStyleCnt="9"/>
      <dgm:spPr>
        <a:solidFill>
          <a:srgbClr val="001F60"/>
        </a:solidFill>
        <a:ln>
          <a:solidFill>
            <a:srgbClr val="001F60"/>
          </a:solidFill>
        </a:ln>
      </dgm:spPr>
    </dgm:pt>
    <dgm:pt modelId="{E84627D0-8B12-49E5-AF85-2A89071E0157}" type="pres">
      <dgm:prSet presAssocID="{32937003-63D0-4FDC-9666-4B319A3B4D99}" presName="EmptyPane1" presStyleCnt="0"/>
      <dgm:spPr/>
    </dgm:pt>
    <dgm:pt modelId="{583FF185-FE9C-4FEF-8747-635280881B61}" type="pres">
      <dgm:prSet presAssocID="{B91B7E21-CF4D-4D85-824E-CFC64C024D9B}" presName="spaceBetweenRectangles1" presStyleCnt="0"/>
      <dgm:spPr/>
    </dgm:pt>
    <dgm:pt modelId="{815B94F3-CB8A-44FC-AA02-A27B7DB616F7}" type="pres">
      <dgm:prSet presAssocID="{501F7932-FC98-41F8-A403-0E1BF3B99541}" presName="composite1" presStyleCnt="0"/>
      <dgm:spPr/>
    </dgm:pt>
    <dgm:pt modelId="{993BF293-EAD5-4DFC-8662-4CFDF4A0D5F3}" type="pres">
      <dgm:prSet presAssocID="{501F7932-FC98-41F8-A403-0E1BF3B99541}" presName="parent1" presStyleLbl="alignNode1" presStyleIdx="3" presStyleCnt="9">
        <dgm:presLayoutVars>
          <dgm:chMax val="1"/>
          <dgm:chPref val="1"/>
          <dgm:bulletEnabled val="1"/>
        </dgm:presLayoutVars>
      </dgm:prSet>
      <dgm:spPr/>
    </dgm:pt>
    <dgm:pt modelId="{C852B168-8BB4-484E-8B45-E818EB563ACD}" type="pres">
      <dgm:prSet presAssocID="{501F7932-FC98-41F8-A403-0E1BF3B99541}" presName="Childtext1" presStyleLbl="revTx" presStyleIdx="3" presStyleCnt="9">
        <dgm:presLayoutVars>
          <dgm:bulletEnabled val="1"/>
        </dgm:presLayoutVars>
      </dgm:prSet>
      <dgm:spPr/>
    </dgm:pt>
    <dgm:pt modelId="{1EE77A18-3D62-421E-872D-1F0DC1BFCC4F}" type="pres">
      <dgm:prSet presAssocID="{501F7932-FC98-41F8-A403-0E1BF3B99541}" presName="ConnectLine1" presStyleLbl="sibTrans1D1" presStyleIdx="3" presStyleCnt="9"/>
      <dgm:spPr>
        <a:noFill/>
        <a:ln w="6350" cap="flat" cmpd="sng" algn="ctr">
          <a:solidFill>
            <a:srgbClr val="68B0AB"/>
          </a:solidFill>
          <a:prstDash val="dash"/>
          <a:miter lim="800000"/>
        </a:ln>
        <a:effectLst/>
      </dgm:spPr>
    </dgm:pt>
    <dgm:pt modelId="{D9DA2A49-8D17-4824-86BD-98B72C3CF269}" type="pres">
      <dgm:prSet presAssocID="{501F7932-FC98-41F8-A403-0E1BF3B99541}" presName="ConnectLineEnd1" presStyleLbl="lnNode1" presStyleIdx="3" presStyleCnt="9"/>
      <dgm:spPr>
        <a:solidFill>
          <a:srgbClr val="68B0AB"/>
        </a:solidFill>
        <a:ln>
          <a:solidFill>
            <a:srgbClr val="68B0AB"/>
          </a:solidFill>
        </a:ln>
      </dgm:spPr>
    </dgm:pt>
    <dgm:pt modelId="{0E6B972F-4FE5-4947-AF45-2CBEB2C2922F}" type="pres">
      <dgm:prSet presAssocID="{501F7932-FC98-41F8-A403-0E1BF3B99541}" presName="EmptyPane1" presStyleCnt="0"/>
      <dgm:spPr/>
    </dgm:pt>
    <dgm:pt modelId="{4169DDFA-34B0-4091-950E-140D665B6360}" type="pres">
      <dgm:prSet presAssocID="{23A4C872-C752-4CBB-B820-62B4332BF915}" presName="spaceBetweenRectangles1" presStyleCnt="0"/>
      <dgm:spPr/>
    </dgm:pt>
    <dgm:pt modelId="{4A4F7C4D-C127-46B7-9D78-DC31D4D01D0D}" type="pres">
      <dgm:prSet presAssocID="{A336B9F0-4628-42CC-8778-7C238F760089}" presName="composite1" presStyleCnt="0"/>
      <dgm:spPr/>
    </dgm:pt>
    <dgm:pt modelId="{9174D865-B074-4541-8434-6DAB84D74850}" type="pres">
      <dgm:prSet presAssocID="{A336B9F0-4628-42CC-8778-7C238F760089}" presName="parent1" presStyleLbl="alignNode1" presStyleIdx="4" presStyleCnt="9">
        <dgm:presLayoutVars>
          <dgm:chMax val="1"/>
          <dgm:chPref val="1"/>
          <dgm:bulletEnabled val="1"/>
        </dgm:presLayoutVars>
      </dgm:prSet>
      <dgm:spPr/>
    </dgm:pt>
    <dgm:pt modelId="{B240B086-CBA3-4C72-84AC-C1AC4E24786A}" type="pres">
      <dgm:prSet presAssocID="{A336B9F0-4628-42CC-8778-7C238F760089}" presName="Childtext1" presStyleLbl="revTx" presStyleIdx="4" presStyleCnt="9">
        <dgm:presLayoutVars>
          <dgm:bulletEnabled val="1"/>
        </dgm:presLayoutVars>
      </dgm:prSet>
      <dgm:spPr/>
    </dgm:pt>
    <dgm:pt modelId="{40D6440E-8C75-4CE0-B68D-0D7D338B208A}" type="pres">
      <dgm:prSet presAssocID="{A336B9F0-4628-42CC-8778-7C238F760089}" presName="ConnectLine1" presStyleLbl="sibTrans1D1" presStyleIdx="4" presStyleCnt="9"/>
      <dgm:spPr>
        <a:noFill/>
        <a:ln w="6350" cap="flat" cmpd="sng" algn="ctr">
          <a:solidFill>
            <a:srgbClr val="68B0AB"/>
          </a:solidFill>
          <a:prstDash val="dash"/>
          <a:miter lim="800000"/>
        </a:ln>
        <a:effectLst/>
      </dgm:spPr>
    </dgm:pt>
    <dgm:pt modelId="{B902014F-A5AF-4EB9-B0BA-2DB93905E7B6}" type="pres">
      <dgm:prSet presAssocID="{A336B9F0-4628-42CC-8778-7C238F760089}" presName="ConnectLineEnd1" presStyleLbl="lnNode1" presStyleIdx="4" presStyleCnt="9"/>
      <dgm:spPr>
        <a:solidFill>
          <a:srgbClr val="68B0AB"/>
        </a:solidFill>
        <a:ln>
          <a:solidFill>
            <a:srgbClr val="68B0AB"/>
          </a:solidFill>
        </a:ln>
      </dgm:spPr>
    </dgm:pt>
    <dgm:pt modelId="{262CC101-A504-4817-9333-2D26AEEFE7FB}" type="pres">
      <dgm:prSet presAssocID="{A336B9F0-4628-42CC-8778-7C238F760089}" presName="EmptyPane1" presStyleCnt="0"/>
      <dgm:spPr/>
    </dgm:pt>
    <dgm:pt modelId="{7D386461-054B-4286-AB75-7A64CAA0C632}" type="pres">
      <dgm:prSet presAssocID="{4B2572B2-EEEC-4C64-A550-F3D53437A0A1}" presName="spaceBetweenRectangles1" presStyleCnt="0"/>
      <dgm:spPr/>
    </dgm:pt>
    <dgm:pt modelId="{7F0CADF0-3892-40FF-9D2A-3B65DF2DBC6E}" type="pres">
      <dgm:prSet presAssocID="{EBF958DC-45D1-43FA-ABB8-1B6A4090878F}" presName="composite1" presStyleCnt="0"/>
      <dgm:spPr/>
    </dgm:pt>
    <dgm:pt modelId="{DDEE2088-9C66-48A1-BA1E-3D701A3ECC0B}" type="pres">
      <dgm:prSet presAssocID="{EBF958DC-45D1-43FA-ABB8-1B6A4090878F}" presName="parent1" presStyleLbl="alignNode1" presStyleIdx="5" presStyleCnt="9">
        <dgm:presLayoutVars>
          <dgm:chMax val="1"/>
          <dgm:chPref val="1"/>
          <dgm:bulletEnabled val="1"/>
        </dgm:presLayoutVars>
      </dgm:prSet>
      <dgm:spPr/>
    </dgm:pt>
    <dgm:pt modelId="{B660B7E2-A753-4C49-8170-860DE8831991}" type="pres">
      <dgm:prSet presAssocID="{EBF958DC-45D1-43FA-ABB8-1B6A4090878F}" presName="Childtext1" presStyleLbl="revTx" presStyleIdx="5" presStyleCnt="9">
        <dgm:presLayoutVars>
          <dgm:bulletEnabled val="1"/>
        </dgm:presLayoutVars>
      </dgm:prSet>
      <dgm:spPr/>
    </dgm:pt>
    <dgm:pt modelId="{85CECBD0-93CC-42AE-8F6F-ECC2ED561C5A}" type="pres">
      <dgm:prSet presAssocID="{EBF958DC-45D1-43FA-ABB8-1B6A4090878F}" presName="ConnectLine1" presStyleLbl="sibTrans1D1" presStyleIdx="5" presStyleCnt="9"/>
      <dgm:spPr>
        <a:noFill/>
        <a:ln w="6350" cap="flat" cmpd="sng" algn="ctr">
          <a:solidFill>
            <a:srgbClr val="00B050"/>
          </a:solidFill>
          <a:prstDash val="dash"/>
          <a:miter lim="800000"/>
        </a:ln>
        <a:effectLst/>
      </dgm:spPr>
    </dgm:pt>
    <dgm:pt modelId="{2785E163-1756-42E5-8694-20F106FC4464}" type="pres">
      <dgm:prSet presAssocID="{EBF958DC-45D1-43FA-ABB8-1B6A4090878F}" presName="ConnectLineEnd1" presStyleLbl="lnNode1" presStyleIdx="5" presStyleCnt="9"/>
      <dgm:spPr>
        <a:solidFill>
          <a:srgbClr val="00B050"/>
        </a:solidFill>
        <a:ln>
          <a:solidFill>
            <a:srgbClr val="00B050"/>
          </a:solidFill>
        </a:ln>
      </dgm:spPr>
    </dgm:pt>
    <dgm:pt modelId="{B45A278E-AEF7-4742-B1A7-8372F4A1E90A}" type="pres">
      <dgm:prSet presAssocID="{EBF958DC-45D1-43FA-ABB8-1B6A4090878F}" presName="EmptyPane1" presStyleCnt="0"/>
      <dgm:spPr/>
    </dgm:pt>
    <dgm:pt modelId="{76EBBE79-F1A6-451B-93B8-1FD5832E5E29}" type="pres">
      <dgm:prSet presAssocID="{ED0076A6-2648-48C2-AA38-D2680A2AC8D8}" presName="spaceBetweenRectangles1" presStyleCnt="0"/>
      <dgm:spPr/>
    </dgm:pt>
    <dgm:pt modelId="{DCA48090-C4C7-4736-BDE0-C25D3FF0EE70}" type="pres">
      <dgm:prSet presAssocID="{3F7A9B2D-A9D1-4AD3-95BC-056D64B1A9BA}" presName="composite1" presStyleCnt="0"/>
      <dgm:spPr/>
    </dgm:pt>
    <dgm:pt modelId="{B29DDCB8-A7CE-4ABC-A765-5150F894F2C7}" type="pres">
      <dgm:prSet presAssocID="{3F7A9B2D-A9D1-4AD3-95BC-056D64B1A9BA}" presName="parent1" presStyleLbl="alignNode1" presStyleIdx="6" presStyleCnt="9">
        <dgm:presLayoutVars>
          <dgm:chMax val="1"/>
          <dgm:chPref val="1"/>
          <dgm:bulletEnabled val="1"/>
        </dgm:presLayoutVars>
      </dgm:prSet>
      <dgm:spPr/>
    </dgm:pt>
    <dgm:pt modelId="{52ED8438-FA17-459A-A442-A91BA1199954}" type="pres">
      <dgm:prSet presAssocID="{3F7A9B2D-A9D1-4AD3-95BC-056D64B1A9BA}" presName="Childtext1" presStyleLbl="revTx" presStyleIdx="6" presStyleCnt="9">
        <dgm:presLayoutVars>
          <dgm:bulletEnabled val="1"/>
        </dgm:presLayoutVars>
      </dgm:prSet>
      <dgm:spPr/>
    </dgm:pt>
    <dgm:pt modelId="{A46217C5-00DB-444E-B512-719594E522DA}" type="pres">
      <dgm:prSet presAssocID="{3F7A9B2D-A9D1-4AD3-95BC-056D64B1A9BA}" presName="ConnectLine1" presStyleLbl="sibTrans1D1" presStyleIdx="6" presStyleCnt="9"/>
      <dgm:spPr>
        <a:noFill/>
        <a:ln w="6350" cap="flat" cmpd="sng" algn="ctr">
          <a:solidFill>
            <a:srgbClr val="00B050"/>
          </a:solidFill>
          <a:prstDash val="dash"/>
          <a:miter lim="800000"/>
        </a:ln>
        <a:effectLst/>
      </dgm:spPr>
    </dgm:pt>
    <dgm:pt modelId="{44CFEE9C-A5F8-4D60-828D-5EE23D37A2AF}" type="pres">
      <dgm:prSet presAssocID="{3F7A9B2D-A9D1-4AD3-95BC-056D64B1A9BA}" presName="ConnectLineEnd1" presStyleLbl="lnNode1" presStyleIdx="6" presStyleCnt="9"/>
      <dgm:spPr>
        <a:solidFill>
          <a:srgbClr val="00B050"/>
        </a:solidFill>
        <a:ln>
          <a:solidFill>
            <a:srgbClr val="00B050"/>
          </a:solidFill>
        </a:ln>
      </dgm:spPr>
    </dgm:pt>
    <dgm:pt modelId="{9FBEA5F3-E30F-4694-A273-A0D892D8227E}" type="pres">
      <dgm:prSet presAssocID="{3F7A9B2D-A9D1-4AD3-95BC-056D64B1A9BA}" presName="EmptyPane1" presStyleCnt="0"/>
      <dgm:spPr/>
    </dgm:pt>
    <dgm:pt modelId="{C95FF623-1D85-45C2-8DDF-4A0CB0BCE42A}" type="pres">
      <dgm:prSet presAssocID="{AD5FE1A1-8009-46F4-933C-69B3995A1C1D}" presName="spaceBetweenRectangles1" presStyleCnt="0"/>
      <dgm:spPr/>
    </dgm:pt>
    <dgm:pt modelId="{1E1A2C0D-A221-4975-B9BE-2C06F3BEB1A6}" type="pres">
      <dgm:prSet presAssocID="{0A6B3A7F-D990-4374-92A8-3085422F9BBF}" presName="composite1" presStyleCnt="0"/>
      <dgm:spPr/>
    </dgm:pt>
    <dgm:pt modelId="{683B96C1-17D5-429D-B75D-F558A960CE0C}" type="pres">
      <dgm:prSet presAssocID="{0A6B3A7F-D990-4374-92A8-3085422F9BBF}" presName="parent1" presStyleLbl="alignNode1" presStyleIdx="7" presStyleCnt="9">
        <dgm:presLayoutVars>
          <dgm:chMax val="1"/>
          <dgm:chPref val="1"/>
          <dgm:bulletEnabled val="1"/>
        </dgm:presLayoutVars>
      </dgm:prSet>
      <dgm:spPr/>
    </dgm:pt>
    <dgm:pt modelId="{DE7E5952-8F38-4C15-BBC0-A95779E9EF38}" type="pres">
      <dgm:prSet presAssocID="{0A6B3A7F-D990-4374-92A8-3085422F9BBF}" presName="Childtext1" presStyleLbl="revTx" presStyleIdx="7" presStyleCnt="9" custLinFactNeighborX="2829" custLinFactNeighborY="14615">
        <dgm:presLayoutVars>
          <dgm:bulletEnabled val="1"/>
        </dgm:presLayoutVars>
      </dgm:prSet>
      <dgm:spPr/>
    </dgm:pt>
    <dgm:pt modelId="{B40660E7-480B-4517-8336-4F32C2822BE3}" type="pres">
      <dgm:prSet presAssocID="{0A6B3A7F-D990-4374-92A8-3085422F9BBF}" presName="ConnectLine1" presStyleLbl="sibTrans1D1" presStyleIdx="7" presStyleCnt="9"/>
      <dgm:spPr>
        <a:noFill/>
        <a:ln w="6350" cap="flat" cmpd="sng" algn="ctr">
          <a:solidFill>
            <a:srgbClr val="00B050"/>
          </a:solidFill>
          <a:prstDash val="dash"/>
          <a:miter lim="800000"/>
        </a:ln>
        <a:effectLst/>
      </dgm:spPr>
    </dgm:pt>
    <dgm:pt modelId="{12D427F4-99AD-4AF6-848D-32B3B6C1983E}" type="pres">
      <dgm:prSet presAssocID="{0A6B3A7F-D990-4374-92A8-3085422F9BBF}" presName="ConnectLineEnd1" presStyleLbl="lnNode1" presStyleIdx="7" presStyleCnt="9"/>
      <dgm:spPr>
        <a:solidFill>
          <a:srgbClr val="00B050"/>
        </a:solidFill>
        <a:ln>
          <a:solidFill>
            <a:srgbClr val="00B050"/>
          </a:solidFill>
        </a:ln>
      </dgm:spPr>
    </dgm:pt>
    <dgm:pt modelId="{4DC2DD4D-783A-4F14-A369-DD175E0F2EED}" type="pres">
      <dgm:prSet presAssocID="{0A6B3A7F-D990-4374-92A8-3085422F9BBF}" presName="EmptyPane1" presStyleCnt="0"/>
      <dgm:spPr/>
    </dgm:pt>
    <dgm:pt modelId="{4DB46ABC-6AFC-4A20-868C-852BFC0F46A7}" type="pres">
      <dgm:prSet presAssocID="{FE791B7C-5C81-47E0-A35E-FA36AB967D9E}" presName="spaceBetweenRectangles1" presStyleCnt="0"/>
      <dgm:spPr/>
    </dgm:pt>
    <dgm:pt modelId="{0A8539D0-CD49-4A94-BD8A-C11C9468C477}" type="pres">
      <dgm:prSet presAssocID="{AEC5F47F-638D-4F1A-A12F-ACAC6CC45D6C}" presName="composite1" presStyleCnt="0"/>
      <dgm:spPr/>
    </dgm:pt>
    <dgm:pt modelId="{5EE58C29-08CA-4BD6-8750-F9DF2B5218E3}" type="pres">
      <dgm:prSet presAssocID="{AEC5F47F-638D-4F1A-A12F-ACAC6CC45D6C}" presName="parent1" presStyleLbl="alignNode1" presStyleIdx="8" presStyleCnt="9">
        <dgm:presLayoutVars>
          <dgm:chMax val="1"/>
          <dgm:chPref val="1"/>
          <dgm:bulletEnabled val="1"/>
        </dgm:presLayoutVars>
      </dgm:prSet>
      <dgm:spPr/>
    </dgm:pt>
    <dgm:pt modelId="{12B3EE98-8EA9-477D-94FC-AC58F05F5524}" type="pres">
      <dgm:prSet presAssocID="{AEC5F47F-638D-4F1A-A12F-ACAC6CC45D6C}" presName="Childtext1" presStyleLbl="revTx" presStyleIdx="8" presStyleCnt="9">
        <dgm:presLayoutVars>
          <dgm:bulletEnabled val="1"/>
        </dgm:presLayoutVars>
      </dgm:prSet>
      <dgm:spPr/>
    </dgm:pt>
    <dgm:pt modelId="{89CC0DF3-1F74-4B31-A04D-4075AB915F19}" type="pres">
      <dgm:prSet presAssocID="{AEC5F47F-638D-4F1A-A12F-ACAC6CC45D6C}" presName="ConnectLine1" presStyleLbl="sibTrans1D1" presStyleIdx="8" presStyleCnt="9"/>
      <dgm:spPr>
        <a:noFill/>
        <a:ln w="6350" cap="flat" cmpd="sng" algn="ctr">
          <a:solidFill>
            <a:srgbClr val="00B050"/>
          </a:solidFill>
          <a:prstDash val="dash"/>
          <a:miter lim="800000"/>
        </a:ln>
        <a:effectLst/>
      </dgm:spPr>
    </dgm:pt>
    <dgm:pt modelId="{84C9B3F7-DF05-4119-B805-6C432BEE03A2}" type="pres">
      <dgm:prSet presAssocID="{AEC5F47F-638D-4F1A-A12F-ACAC6CC45D6C}" presName="ConnectLineEnd1" presStyleLbl="lnNode1" presStyleIdx="8" presStyleCnt="9"/>
      <dgm:spPr>
        <a:solidFill>
          <a:srgbClr val="00B050"/>
        </a:solidFill>
        <a:ln>
          <a:solidFill>
            <a:srgbClr val="00B050"/>
          </a:solidFill>
        </a:ln>
      </dgm:spPr>
    </dgm:pt>
    <dgm:pt modelId="{A1260AED-7704-4BED-AE2B-9CE9E2C353E1}" type="pres">
      <dgm:prSet presAssocID="{AEC5F47F-638D-4F1A-A12F-ACAC6CC45D6C}" presName="EmptyPane1" presStyleCnt="0"/>
      <dgm:spPr/>
    </dgm:pt>
  </dgm:ptLst>
  <dgm:cxnLst>
    <dgm:cxn modelId="{EA607902-9BF8-46FF-AAA2-05968A519330}" srcId="{1933674C-4290-42B7-AF47-6EE61E1C3C28}" destId="{501F7932-FC98-41F8-A403-0E1BF3B99541}" srcOrd="3" destOrd="0" parTransId="{7365D153-497B-49C4-BB32-CAA611F9CA43}" sibTransId="{23A4C872-C752-4CBB-B820-62B4332BF915}"/>
    <dgm:cxn modelId="{4C3A8007-72BC-4708-BCF2-BBDEE0C6F2FE}" srcId="{EBF958DC-45D1-43FA-ABB8-1B6A4090878F}" destId="{B79AA00B-786D-4FC7-A28F-4526FEAEE60E}" srcOrd="0" destOrd="0" parTransId="{3223005F-434F-4025-B744-1090B2BB222D}" sibTransId="{8457B18D-E505-4EB1-B848-317953D6AD9D}"/>
    <dgm:cxn modelId="{5D2EB90D-0059-46DC-8000-E9A3038A55BD}" srcId="{1933674C-4290-42B7-AF47-6EE61E1C3C28}" destId="{0A6B3A7F-D990-4374-92A8-3085422F9BBF}" srcOrd="7" destOrd="0" parTransId="{F4241D84-C1A8-415A-9B97-6953BFBEBE44}" sibTransId="{FE791B7C-5C81-47E0-A35E-FA36AB967D9E}"/>
    <dgm:cxn modelId="{8270740E-7C3A-4CDF-A7EA-9CB3D815369F}" srcId="{1933674C-4290-42B7-AF47-6EE61E1C3C28}" destId="{EBF958DC-45D1-43FA-ABB8-1B6A4090878F}" srcOrd="5" destOrd="0" parTransId="{9712E9A8-3339-4D76-97C6-60301B9584D8}" sibTransId="{ED0076A6-2648-48C2-AA38-D2680A2AC8D8}"/>
    <dgm:cxn modelId="{61E06115-CB46-471D-8AEC-E3C527F7F45E}" type="presOf" srcId="{DF6C0C9C-440A-4BE0-A1D4-BDBBA2121361}" destId="{DE7E5952-8F38-4C15-BBC0-A95779E9EF38}" srcOrd="0" destOrd="0" presId="urn:microsoft.com/office/officeart/2016/7/layout/RoundedRectangleTimeline"/>
    <dgm:cxn modelId="{5F2F8725-58FA-4BD1-80A5-A7675C22875B}" srcId="{1933674C-4290-42B7-AF47-6EE61E1C3C28}" destId="{A336B9F0-4628-42CC-8778-7C238F760089}" srcOrd="4" destOrd="0" parTransId="{6362C794-5B89-4CFA-AB8E-FBA3F222C00F}" sibTransId="{4B2572B2-EEEC-4C64-A550-F3D53437A0A1}"/>
    <dgm:cxn modelId="{1AED472A-22B3-459A-BF1F-C4361CC1C0D6}" type="presOf" srcId="{32937003-63D0-4FDC-9666-4B319A3B4D99}" destId="{19B304C7-80EC-40B9-92A7-EE53243978E3}" srcOrd="0" destOrd="0" presId="urn:microsoft.com/office/officeart/2016/7/layout/RoundedRectangleTimeline"/>
    <dgm:cxn modelId="{C611D62C-3B2D-45C3-A005-27A0E79C96D6}" srcId="{1933674C-4290-42B7-AF47-6EE61E1C3C28}" destId="{AEC5F47F-638D-4F1A-A12F-ACAC6CC45D6C}" srcOrd="8" destOrd="0" parTransId="{4261E339-ED49-4B31-ABAB-E81A9A100A1E}" sibTransId="{FC005279-E39B-42FD-AB00-06BB06754698}"/>
    <dgm:cxn modelId="{12B8DB2C-AB79-409D-AD94-D7D8E43E4475}" srcId="{32937003-63D0-4FDC-9666-4B319A3B4D99}" destId="{BA21C4A7-E6BA-4EFE-8BD0-32F124BDDDBD}" srcOrd="0" destOrd="0" parTransId="{A958AE09-ACE6-4796-A101-3DF379BA7FA9}" sibTransId="{4F01E7F4-2C52-4DED-9A8C-C79A192A618C}"/>
    <dgm:cxn modelId="{A8A6A030-BF59-43CC-8669-579711441C3C}" type="presOf" srcId="{6B06414B-420D-4712-9CE8-3D5FBCA2C995}" destId="{B240B086-CBA3-4C72-84AC-C1AC4E24786A}" srcOrd="0" destOrd="0" presId="urn:microsoft.com/office/officeart/2016/7/layout/RoundedRectangleTimeline"/>
    <dgm:cxn modelId="{803AA432-DE7E-4A42-A264-D4571A15F10E}" type="presOf" srcId="{97D12A91-DFC2-4B57-818E-2D8A1D21340A}" destId="{52ED8438-FA17-459A-A442-A91BA1199954}" srcOrd="0" destOrd="0" presId="urn:microsoft.com/office/officeart/2016/7/layout/RoundedRectangleTimeline"/>
    <dgm:cxn modelId="{F8DFAC5C-63B2-489D-8F06-ED9D379AC6E8}" type="presOf" srcId="{BA21C4A7-E6BA-4EFE-8BD0-32F124BDDDBD}" destId="{37DBEC9D-597E-4952-82EA-61209C019F08}" srcOrd="0" destOrd="0" presId="urn:microsoft.com/office/officeart/2016/7/layout/RoundedRectangleTimeline"/>
    <dgm:cxn modelId="{0EBE815F-D6F5-4BE3-A657-D69FE2BCCABD}" srcId="{1933674C-4290-42B7-AF47-6EE61E1C3C28}" destId="{3F7A9B2D-A9D1-4AD3-95BC-056D64B1A9BA}" srcOrd="6" destOrd="0" parTransId="{2318A579-14C4-4E3A-B398-29BD9B706537}" sibTransId="{AD5FE1A1-8009-46F4-933C-69B3995A1C1D}"/>
    <dgm:cxn modelId="{8951F845-DBAC-4858-9785-95047851C6EB}" type="presOf" srcId="{0A6B3A7F-D990-4374-92A8-3085422F9BBF}" destId="{683B96C1-17D5-429D-B75D-F558A960CE0C}" srcOrd="0" destOrd="0" presId="urn:microsoft.com/office/officeart/2016/7/layout/RoundedRectangleTimeline"/>
    <dgm:cxn modelId="{F0B39549-8619-44D3-AEE3-12D350EB0466}" type="presOf" srcId="{501F7932-FC98-41F8-A403-0E1BF3B99541}" destId="{993BF293-EAD5-4DFC-8662-4CFDF4A0D5F3}" srcOrd="0" destOrd="0" presId="urn:microsoft.com/office/officeart/2016/7/layout/RoundedRectangleTimeline"/>
    <dgm:cxn modelId="{2151ED4A-379D-4A94-8242-A6428EC23F84}" srcId="{1933674C-4290-42B7-AF47-6EE61E1C3C28}" destId="{CE8FFBC8-E2BA-47DA-9E56-BC017E100402}" srcOrd="1" destOrd="0" parTransId="{ED72FA2A-DDBD-4B15-B7C1-ED29DD27BE6C}" sibTransId="{E5DD65D9-4D81-4A76-B0AC-C96CA8632279}"/>
    <dgm:cxn modelId="{93D5AE4C-A171-4DEF-BDE9-820F3A4BC4AD}" type="presOf" srcId="{EB65F050-0746-49E3-9843-A6F45049196C}" destId="{ACC77FD0-3BD4-4641-AF46-F6078067D98A}" srcOrd="0" destOrd="0" presId="urn:microsoft.com/office/officeart/2016/7/layout/RoundedRectangleTimeline"/>
    <dgm:cxn modelId="{1323BA57-CCEE-4199-93E3-7D548800DBD2}" type="presOf" srcId="{EA1395A7-BABE-4F03-AD5D-2266326D3D03}" destId="{B0FBAA9D-3C98-4312-ABD5-AAC590CA1F4B}" srcOrd="0" destOrd="0" presId="urn:microsoft.com/office/officeart/2016/7/layout/RoundedRectangleTimeline"/>
    <dgm:cxn modelId="{1064DC57-9512-47E8-AA38-46AE6C2A3E6C}" srcId="{0A6B3A7F-D990-4374-92A8-3085422F9BBF}" destId="{DF6C0C9C-440A-4BE0-A1D4-BDBBA2121361}" srcOrd="0" destOrd="0" parTransId="{2856E338-3A34-49BC-8BFD-FC5BCD4EDE9B}" sibTransId="{688EFA42-9586-43DB-BABE-9A7E5E2FCB69}"/>
    <dgm:cxn modelId="{B556737F-43F8-4E33-94D3-9A1BEF1F3918}" type="presOf" srcId="{3F7A9B2D-A9D1-4AD3-95BC-056D64B1A9BA}" destId="{B29DDCB8-A7CE-4ABC-A765-5150F894F2C7}" srcOrd="0" destOrd="0" presId="urn:microsoft.com/office/officeart/2016/7/layout/RoundedRectangleTimeline"/>
    <dgm:cxn modelId="{73FCB680-7F3C-4AAA-B799-4BD1D7DA69EA}" srcId="{EA1395A7-BABE-4F03-AD5D-2266326D3D03}" destId="{DB3C4AAD-02E1-403E-95FA-48F65A183B48}" srcOrd="0" destOrd="0" parTransId="{4B5FE38C-4D15-41E9-8BE5-0F6716FBCD39}" sibTransId="{D7623F5D-B2F1-406B-BBB8-E7B25CFED5A3}"/>
    <dgm:cxn modelId="{E8305E88-E65E-4CA4-9FAE-90B55E756116}" type="presOf" srcId="{45D294F7-8786-48D3-9B1C-D35D8773E3D9}" destId="{12B3EE98-8EA9-477D-94FC-AC58F05F5524}" srcOrd="0" destOrd="0" presId="urn:microsoft.com/office/officeart/2016/7/layout/RoundedRectangleTimeline"/>
    <dgm:cxn modelId="{2308BC8D-CF20-4869-81B7-079290F8ECA1}" type="presOf" srcId="{CE8FFBC8-E2BA-47DA-9E56-BC017E100402}" destId="{CA993503-35AA-4DE5-9382-1AE376E2B913}" srcOrd="0" destOrd="0" presId="urn:microsoft.com/office/officeart/2016/7/layout/RoundedRectangleTimeline"/>
    <dgm:cxn modelId="{7D1F6090-CEB5-46F5-B867-92595F0C0FD5}" srcId="{501F7932-FC98-41F8-A403-0E1BF3B99541}" destId="{7D3675B4-3075-46CC-AB37-C0CE38589862}" srcOrd="0" destOrd="0" parTransId="{682E30EA-7044-46DF-A1E1-7B007EE52EFE}" sibTransId="{B71A92AC-EDD9-42DA-B336-12AA86C03EFE}"/>
    <dgm:cxn modelId="{64E67690-7551-467A-B97D-9045B30A9B8B}" srcId="{AEC5F47F-638D-4F1A-A12F-ACAC6CC45D6C}" destId="{45D294F7-8786-48D3-9B1C-D35D8773E3D9}" srcOrd="0" destOrd="0" parTransId="{2BFF1500-0DDA-46AB-8175-942296D6EEFA}" sibTransId="{C161F37E-DE6C-4911-BF1A-EC33FB6D5529}"/>
    <dgm:cxn modelId="{B303B390-890B-42A3-9BB0-9488928A706D}" type="presOf" srcId="{AEC5F47F-638D-4F1A-A12F-ACAC6CC45D6C}" destId="{5EE58C29-08CA-4BD6-8750-F9DF2B5218E3}" srcOrd="0" destOrd="0" presId="urn:microsoft.com/office/officeart/2016/7/layout/RoundedRectangleTimeline"/>
    <dgm:cxn modelId="{D2C10991-31AD-4AD8-886C-7106F963A72C}" srcId="{3F7A9B2D-A9D1-4AD3-95BC-056D64B1A9BA}" destId="{97D12A91-DFC2-4B57-818E-2D8A1D21340A}" srcOrd="0" destOrd="0" parTransId="{9C8787AB-050B-468F-B201-7DB3835F9DE0}" sibTransId="{CE20BF21-5E6D-4A06-91D9-5903A9E72408}"/>
    <dgm:cxn modelId="{936B289A-8359-4154-8F1F-EC4CD43910D4}" type="presOf" srcId="{7D3675B4-3075-46CC-AB37-C0CE38589862}" destId="{C852B168-8BB4-484E-8B45-E818EB563ACD}" srcOrd="0" destOrd="0" presId="urn:microsoft.com/office/officeart/2016/7/layout/RoundedRectangleTimeline"/>
    <dgm:cxn modelId="{EF4F1FA0-B4AA-4FD5-9A1B-26402AA8AF23}" type="presOf" srcId="{EBF958DC-45D1-43FA-ABB8-1B6A4090878F}" destId="{DDEE2088-9C66-48A1-BA1E-3D701A3ECC0B}" srcOrd="0" destOrd="0" presId="urn:microsoft.com/office/officeart/2016/7/layout/RoundedRectangleTimeline"/>
    <dgm:cxn modelId="{F246A4A4-3DAF-4039-B613-5C95166A6E7D}" type="presOf" srcId="{A336B9F0-4628-42CC-8778-7C238F760089}" destId="{9174D865-B074-4541-8434-6DAB84D74850}" srcOrd="0" destOrd="0" presId="urn:microsoft.com/office/officeart/2016/7/layout/RoundedRectangleTimeline"/>
    <dgm:cxn modelId="{87A9F9AE-D585-4F2D-95F6-3362758BAC21}" type="presOf" srcId="{1933674C-4290-42B7-AF47-6EE61E1C3C28}" destId="{582E6E34-7EF7-4E8E-8DC8-4DD5129E11B3}" srcOrd="0" destOrd="0" presId="urn:microsoft.com/office/officeart/2016/7/layout/RoundedRectangleTimeline"/>
    <dgm:cxn modelId="{EABD0CB6-D244-41EB-88D0-0A833939D4EC}" srcId="{CE8FFBC8-E2BA-47DA-9E56-BC017E100402}" destId="{EB65F050-0746-49E3-9843-A6F45049196C}" srcOrd="0" destOrd="0" parTransId="{755BA2A8-D0AB-46C9-B8CF-ADFE64C9E888}" sibTransId="{CB64B9BA-97CD-49C5-B540-E83A1B367D8E}"/>
    <dgm:cxn modelId="{C0B564C0-7625-4991-B453-16CD7D914321}" type="presOf" srcId="{B79AA00B-786D-4FC7-A28F-4526FEAEE60E}" destId="{B660B7E2-A753-4C49-8170-860DE8831991}" srcOrd="0" destOrd="0" presId="urn:microsoft.com/office/officeart/2016/7/layout/RoundedRectangleTimeline"/>
    <dgm:cxn modelId="{03292CC5-215D-4FBC-B827-695EFB4B9954}" srcId="{1933674C-4290-42B7-AF47-6EE61E1C3C28}" destId="{32937003-63D0-4FDC-9666-4B319A3B4D99}" srcOrd="2" destOrd="0" parTransId="{E4BC9C80-2619-4B37-98D9-B853F2A9F1C5}" sibTransId="{B91B7E21-CF4D-4D85-824E-CFC64C024D9B}"/>
    <dgm:cxn modelId="{5ABFC0E1-D710-4637-9EB2-BB07602D92F7}" srcId="{A336B9F0-4628-42CC-8778-7C238F760089}" destId="{6B06414B-420D-4712-9CE8-3D5FBCA2C995}" srcOrd="0" destOrd="0" parTransId="{DE621301-F923-45AC-ADDF-074E0E63E201}" sibTransId="{192804D4-C6DD-4C5A-B317-1077756EFC4D}"/>
    <dgm:cxn modelId="{0B6217EC-19BF-47AB-AA8C-BF268080F830}" srcId="{1933674C-4290-42B7-AF47-6EE61E1C3C28}" destId="{EA1395A7-BABE-4F03-AD5D-2266326D3D03}" srcOrd="0" destOrd="0" parTransId="{399B732E-66B7-4B5D-A1C6-951D63ADD3BB}" sibTransId="{8AFBAEDD-7C30-477A-B532-229E595C8384}"/>
    <dgm:cxn modelId="{AFDDF5ED-3D68-4035-BBA9-97BE25A40E77}" type="presOf" srcId="{DB3C4AAD-02E1-403E-95FA-48F65A183B48}" destId="{9D875279-7F85-451B-AA08-DCB5C149A1E7}" srcOrd="0" destOrd="0" presId="urn:microsoft.com/office/officeart/2016/7/layout/RoundedRectangleTimeline"/>
    <dgm:cxn modelId="{1AA98666-33CE-4B56-9F9F-9C7E04AB3924}" type="presParOf" srcId="{582E6E34-7EF7-4E8E-8DC8-4DD5129E11B3}" destId="{B8FBED92-F528-4356-A34A-87F36E936788}" srcOrd="0" destOrd="0" presId="urn:microsoft.com/office/officeart/2016/7/layout/RoundedRectangleTimeline"/>
    <dgm:cxn modelId="{D1C9A562-68B4-4B14-9386-727C9FAAFA43}" type="presParOf" srcId="{B8FBED92-F528-4356-A34A-87F36E936788}" destId="{B0FBAA9D-3C98-4312-ABD5-AAC590CA1F4B}" srcOrd="0" destOrd="0" presId="urn:microsoft.com/office/officeart/2016/7/layout/RoundedRectangleTimeline"/>
    <dgm:cxn modelId="{A94D5F32-EF27-413A-A668-7D96CBF777EA}" type="presParOf" srcId="{B8FBED92-F528-4356-A34A-87F36E936788}" destId="{9D875279-7F85-451B-AA08-DCB5C149A1E7}" srcOrd="1" destOrd="0" presId="urn:microsoft.com/office/officeart/2016/7/layout/RoundedRectangleTimeline"/>
    <dgm:cxn modelId="{A125EBAD-7DF0-46B0-BA30-799C5A95E4B4}" type="presParOf" srcId="{B8FBED92-F528-4356-A34A-87F36E936788}" destId="{4A3D8B02-1214-46CE-8A43-CE419735DC67}" srcOrd="2" destOrd="0" presId="urn:microsoft.com/office/officeart/2016/7/layout/RoundedRectangleTimeline"/>
    <dgm:cxn modelId="{0191F412-6BB9-4589-860A-D75B7CB59E1F}" type="presParOf" srcId="{B8FBED92-F528-4356-A34A-87F36E936788}" destId="{2C15677D-C56F-46EC-92F5-8582B34D741B}" srcOrd="3" destOrd="0" presId="urn:microsoft.com/office/officeart/2016/7/layout/RoundedRectangleTimeline"/>
    <dgm:cxn modelId="{A286196A-7E58-4E0B-9AC1-FCBF46114865}" type="presParOf" srcId="{B8FBED92-F528-4356-A34A-87F36E936788}" destId="{9374628A-9096-4DE9-BB86-A1F6F3582EB5}" srcOrd="4" destOrd="0" presId="urn:microsoft.com/office/officeart/2016/7/layout/RoundedRectangleTimeline"/>
    <dgm:cxn modelId="{4308575D-93C3-4C55-AE69-8F7199484442}" type="presParOf" srcId="{582E6E34-7EF7-4E8E-8DC8-4DD5129E11B3}" destId="{84E7C9CA-F6AA-46DF-9FA1-C3D3B8BC96BF}" srcOrd="1" destOrd="0" presId="urn:microsoft.com/office/officeart/2016/7/layout/RoundedRectangleTimeline"/>
    <dgm:cxn modelId="{3E8082F0-54C9-46D0-8D70-63BE057CC45E}" type="presParOf" srcId="{582E6E34-7EF7-4E8E-8DC8-4DD5129E11B3}" destId="{B6601F5E-6E50-4D53-B6F8-A4C229DDDE65}" srcOrd="2" destOrd="0" presId="urn:microsoft.com/office/officeart/2016/7/layout/RoundedRectangleTimeline"/>
    <dgm:cxn modelId="{B2DDF5CB-5AA2-4B12-9FD2-87D11011AF53}" type="presParOf" srcId="{B6601F5E-6E50-4D53-B6F8-A4C229DDDE65}" destId="{CA993503-35AA-4DE5-9382-1AE376E2B913}" srcOrd="0" destOrd="0" presId="urn:microsoft.com/office/officeart/2016/7/layout/RoundedRectangleTimeline"/>
    <dgm:cxn modelId="{B7848A28-FF09-418F-A5DE-999118E8C8E0}" type="presParOf" srcId="{B6601F5E-6E50-4D53-B6F8-A4C229DDDE65}" destId="{ACC77FD0-3BD4-4641-AF46-F6078067D98A}" srcOrd="1" destOrd="0" presId="urn:microsoft.com/office/officeart/2016/7/layout/RoundedRectangleTimeline"/>
    <dgm:cxn modelId="{96904BCF-E62D-4A66-8701-1C40710481D5}" type="presParOf" srcId="{B6601F5E-6E50-4D53-B6F8-A4C229DDDE65}" destId="{E1B6C157-3DC8-4DC1-B2D6-0DA5F839CE5B}" srcOrd="2" destOrd="0" presId="urn:microsoft.com/office/officeart/2016/7/layout/RoundedRectangleTimeline"/>
    <dgm:cxn modelId="{CA344F8E-0DCC-4373-ABC1-BD85662C397B}" type="presParOf" srcId="{B6601F5E-6E50-4D53-B6F8-A4C229DDDE65}" destId="{4D28EF5E-2DC7-483D-814A-922388E608E1}" srcOrd="3" destOrd="0" presId="urn:microsoft.com/office/officeart/2016/7/layout/RoundedRectangleTimeline"/>
    <dgm:cxn modelId="{0301A1C4-8BA6-4EDD-9E5D-3312BB2C7659}" type="presParOf" srcId="{B6601F5E-6E50-4D53-B6F8-A4C229DDDE65}" destId="{42930C36-AAA2-4419-A3AD-9E546C999762}" srcOrd="4" destOrd="0" presId="urn:microsoft.com/office/officeart/2016/7/layout/RoundedRectangleTimeline"/>
    <dgm:cxn modelId="{3860DB06-7216-4698-A72D-AE52CC510CE7}" type="presParOf" srcId="{582E6E34-7EF7-4E8E-8DC8-4DD5129E11B3}" destId="{B8F227CD-8022-433C-AD56-963C3E06F0C4}" srcOrd="3" destOrd="0" presId="urn:microsoft.com/office/officeart/2016/7/layout/RoundedRectangleTimeline"/>
    <dgm:cxn modelId="{AA3189C9-914A-4D2D-9A34-FF3A26AE236A}" type="presParOf" srcId="{582E6E34-7EF7-4E8E-8DC8-4DD5129E11B3}" destId="{21BE2410-2557-4311-ABED-4458E88B4538}" srcOrd="4" destOrd="0" presId="urn:microsoft.com/office/officeart/2016/7/layout/RoundedRectangleTimeline"/>
    <dgm:cxn modelId="{5192E39E-2364-4589-9417-E69F023BEF71}" type="presParOf" srcId="{21BE2410-2557-4311-ABED-4458E88B4538}" destId="{19B304C7-80EC-40B9-92A7-EE53243978E3}" srcOrd="0" destOrd="0" presId="urn:microsoft.com/office/officeart/2016/7/layout/RoundedRectangleTimeline"/>
    <dgm:cxn modelId="{D3E6277F-FB69-4B08-B655-5BAE2ED8E85C}" type="presParOf" srcId="{21BE2410-2557-4311-ABED-4458E88B4538}" destId="{37DBEC9D-597E-4952-82EA-61209C019F08}" srcOrd="1" destOrd="0" presId="urn:microsoft.com/office/officeart/2016/7/layout/RoundedRectangleTimeline"/>
    <dgm:cxn modelId="{2ED834CB-7F67-4442-9CD8-D6F27AA3B339}" type="presParOf" srcId="{21BE2410-2557-4311-ABED-4458E88B4538}" destId="{136FD358-C3D4-4C41-8E55-CF28497117C0}" srcOrd="2" destOrd="0" presId="urn:microsoft.com/office/officeart/2016/7/layout/RoundedRectangleTimeline"/>
    <dgm:cxn modelId="{34EA23F7-4398-4072-928B-B415B36B12F9}" type="presParOf" srcId="{21BE2410-2557-4311-ABED-4458E88B4538}" destId="{961F41ED-A44D-43E9-B176-1927CE1B7AAC}" srcOrd="3" destOrd="0" presId="urn:microsoft.com/office/officeart/2016/7/layout/RoundedRectangleTimeline"/>
    <dgm:cxn modelId="{AC2D2974-D5B5-46F5-B248-9E58EABDE594}" type="presParOf" srcId="{21BE2410-2557-4311-ABED-4458E88B4538}" destId="{E84627D0-8B12-49E5-AF85-2A89071E0157}" srcOrd="4" destOrd="0" presId="urn:microsoft.com/office/officeart/2016/7/layout/RoundedRectangleTimeline"/>
    <dgm:cxn modelId="{1D9131F3-8535-48AF-AF13-4F23B0F5EB97}" type="presParOf" srcId="{582E6E34-7EF7-4E8E-8DC8-4DD5129E11B3}" destId="{583FF185-FE9C-4FEF-8747-635280881B61}" srcOrd="5" destOrd="0" presId="urn:microsoft.com/office/officeart/2016/7/layout/RoundedRectangleTimeline"/>
    <dgm:cxn modelId="{F3432BDA-F3DF-4C43-824A-9F137A0B075A}" type="presParOf" srcId="{582E6E34-7EF7-4E8E-8DC8-4DD5129E11B3}" destId="{815B94F3-CB8A-44FC-AA02-A27B7DB616F7}" srcOrd="6" destOrd="0" presId="urn:microsoft.com/office/officeart/2016/7/layout/RoundedRectangleTimeline"/>
    <dgm:cxn modelId="{E8829FBC-C130-453B-8FB9-738A44805DE0}" type="presParOf" srcId="{815B94F3-CB8A-44FC-AA02-A27B7DB616F7}" destId="{993BF293-EAD5-4DFC-8662-4CFDF4A0D5F3}" srcOrd="0" destOrd="0" presId="urn:microsoft.com/office/officeart/2016/7/layout/RoundedRectangleTimeline"/>
    <dgm:cxn modelId="{8F00A983-62F6-477D-8D0A-724989AED172}" type="presParOf" srcId="{815B94F3-CB8A-44FC-AA02-A27B7DB616F7}" destId="{C852B168-8BB4-484E-8B45-E818EB563ACD}" srcOrd="1" destOrd="0" presId="urn:microsoft.com/office/officeart/2016/7/layout/RoundedRectangleTimeline"/>
    <dgm:cxn modelId="{0E9CC94D-622E-4363-9DC1-8959E78C750F}" type="presParOf" srcId="{815B94F3-CB8A-44FC-AA02-A27B7DB616F7}" destId="{1EE77A18-3D62-421E-872D-1F0DC1BFCC4F}" srcOrd="2" destOrd="0" presId="urn:microsoft.com/office/officeart/2016/7/layout/RoundedRectangleTimeline"/>
    <dgm:cxn modelId="{08F3E4E1-6A4F-468F-82E6-5BBECC474FEB}" type="presParOf" srcId="{815B94F3-CB8A-44FC-AA02-A27B7DB616F7}" destId="{D9DA2A49-8D17-4824-86BD-98B72C3CF269}" srcOrd="3" destOrd="0" presId="urn:microsoft.com/office/officeart/2016/7/layout/RoundedRectangleTimeline"/>
    <dgm:cxn modelId="{DA53BFAB-2174-49FD-BCE4-861D82155C88}" type="presParOf" srcId="{815B94F3-CB8A-44FC-AA02-A27B7DB616F7}" destId="{0E6B972F-4FE5-4947-AF45-2CBEB2C2922F}" srcOrd="4" destOrd="0" presId="urn:microsoft.com/office/officeart/2016/7/layout/RoundedRectangleTimeline"/>
    <dgm:cxn modelId="{A6283F9A-ECB4-4D17-AF4D-80165977BF26}" type="presParOf" srcId="{582E6E34-7EF7-4E8E-8DC8-4DD5129E11B3}" destId="{4169DDFA-34B0-4091-950E-140D665B6360}" srcOrd="7" destOrd="0" presId="urn:microsoft.com/office/officeart/2016/7/layout/RoundedRectangleTimeline"/>
    <dgm:cxn modelId="{A97DACBF-1DB0-4033-A0F9-49A3757C0011}" type="presParOf" srcId="{582E6E34-7EF7-4E8E-8DC8-4DD5129E11B3}" destId="{4A4F7C4D-C127-46B7-9D78-DC31D4D01D0D}" srcOrd="8" destOrd="0" presId="urn:microsoft.com/office/officeart/2016/7/layout/RoundedRectangleTimeline"/>
    <dgm:cxn modelId="{567BC958-C2B0-4255-A8D6-C9B9A24BB7EC}" type="presParOf" srcId="{4A4F7C4D-C127-46B7-9D78-DC31D4D01D0D}" destId="{9174D865-B074-4541-8434-6DAB84D74850}" srcOrd="0" destOrd="0" presId="urn:microsoft.com/office/officeart/2016/7/layout/RoundedRectangleTimeline"/>
    <dgm:cxn modelId="{314390AD-1DFC-43C3-B6C6-8D381EB200CC}" type="presParOf" srcId="{4A4F7C4D-C127-46B7-9D78-DC31D4D01D0D}" destId="{B240B086-CBA3-4C72-84AC-C1AC4E24786A}" srcOrd="1" destOrd="0" presId="urn:microsoft.com/office/officeart/2016/7/layout/RoundedRectangleTimeline"/>
    <dgm:cxn modelId="{DB1158A6-156F-4F4A-BF67-68833E8079DA}" type="presParOf" srcId="{4A4F7C4D-C127-46B7-9D78-DC31D4D01D0D}" destId="{40D6440E-8C75-4CE0-B68D-0D7D338B208A}" srcOrd="2" destOrd="0" presId="urn:microsoft.com/office/officeart/2016/7/layout/RoundedRectangleTimeline"/>
    <dgm:cxn modelId="{BBE15234-4756-4152-B45C-F781907C3205}" type="presParOf" srcId="{4A4F7C4D-C127-46B7-9D78-DC31D4D01D0D}" destId="{B902014F-A5AF-4EB9-B0BA-2DB93905E7B6}" srcOrd="3" destOrd="0" presId="urn:microsoft.com/office/officeart/2016/7/layout/RoundedRectangleTimeline"/>
    <dgm:cxn modelId="{FD98D015-9502-4F10-943E-46D7661686F8}" type="presParOf" srcId="{4A4F7C4D-C127-46B7-9D78-DC31D4D01D0D}" destId="{262CC101-A504-4817-9333-2D26AEEFE7FB}" srcOrd="4" destOrd="0" presId="urn:microsoft.com/office/officeart/2016/7/layout/RoundedRectangleTimeline"/>
    <dgm:cxn modelId="{85FF1ADB-A1CE-475E-822D-4BDF8B0B9595}" type="presParOf" srcId="{582E6E34-7EF7-4E8E-8DC8-4DD5129E11B3}" destId="{7D386461-054B-4286-AB75-7A64CAA0C632}" srcOrd="9" destOrd="0" presId="urn:microsoft.com/office/officeart/2016/7/layout/RoundedRectangleTimeline"/>
    <dgm:cxn modelId="{B084692A-BA76-4C97-8310-562C94E10211}" type="presParOf" srcId="{582E6E34-7EF7-4E8E-8DC8-4DD5129E11B3}" destId="{7F0CADF0-3892-40FF-9D2A-3B65DF2DBC6E}" srcOrd="10" destOrd="0" presId="urn:microsoft.com/office/officeart/2016/7/layout/RoundedRectangleTimeline"/>
    <dgm:cxn modelId="{5A5851AD-3FBF-433D-8AB1-47A6344B61DD}" type="presParOf" srcId="{7F0CADF0-3892-40FF-9D2A-3B65DF2DBC6E}" destId="{DDEE2088-9C66-48A1-BA1E-3D701A3ECC0B}" srcOrd="0" destOrd="0" presId="urn:microsoft.com/office/officeart/2016/7/layout/RoundedRectangleTimeline"/>
    <dgm:cxn modelId="{6AB1BCC3-F3FF-4294-AD23-F24C51BCCA5B}" type="presParOf" srcId="{7F0CADF0-3892-40FF-9D2A-3B65DF2DBC6E}" destId="{B660B7E2-A753-4C49-8170-860DE8831991}" srcOrd="1" destOrd="0" presId="urn:microsoft.com/office/officeart/2016/7/layout/RoundedRectangleTimeline"/>
    <dgm:cxn modelId="{68A3482E-948A-4091-934C-0B93F12B3F54}" type="presParOf" srcId="{7F0CADF0-3892-40FF-9D2A-3B65DF2DBC6E}" destId="{85CECBD0-93CC-42AE-8F6F-ECC2ED561C5A}" srcOrd="2" destOrd="0" presId="urn:microsoft.com/office/officeart/2016/7/layout/RoundedRectangleTimeline"/>
    <dgm:cxn modelId="{4DF35B13-5A1F-4F8C-89D8-71804E58F74E}" type="presParOf" srcId="{7F0CADF0-3892-40FF-9D2A-3B65DF2DBC6E}" destId="{2785E163-1756-42E5-8694-20F106FC4464}" srcOrd="3" destOrd="0" presId="urn:microsoft.com/office/officeart/2016/7/layout/RoundedRectangleTimeline"/>
    <dgm:cxn modelId="{04CE3294-C77D-4BDA-BF7F-0D928CD8558E}" type="presParOf" srcId="{7F0CADF0-3892-40FF-9D2A-3B65DF2DBC6E}" destId="{B45A278E-AEF7-4742-B1A7-8372F4A1E90A}" srcOrd="4" destOrd="0" presId="urn:microsoft.com/office/officeart/2016/7/layout/RoundedRectangleTimeline"/>
    <dgm:cxn modelId="{20D228A9-E34D-4C52-9C2E-002E6429060B}" type="presParOf" srcId="{582E6E34-7EF7-4E8E-8DC8-4DD5129E11B3}" destId="{76EBBE79-F1A6-451B-93B8-1FD5832E5E29}" srcOrd="11" destOrd="0" presId="urn:microsoft.com/office/officeart/2016/7/layout/RoundedRectangleTimeline"/>
    <dgm:cxn modelId="{E30B0275-0949-4C5B-AD45-914A5F9ACB08}" type="presParOf" srcId="{582E6E34-7EF7-4E8E-8DC8-4DD5129E11B3}" destId="{DCA48090-C4C7-4736-BDE0-C25D3FF0EE70}" srcOrd="12" destOrd="0" presId="urn:microsoft.com/office/officeart/2016/7/layout/RoundedRectangleTimeline"/>
    <dgm:cxn modelId="{3E77D01E-0E6E-4DCD-BB8D-E67160753941}" type="presParOf" srcId="{DCA48090-C4C7-4736-BDE0-C25D3FF0EE70}" destId="{B29DDCB8-A7CE-4ABC-A765-5150F894F2C7}" srcOrd="0" destOrd="0" presId="urn:microsoft.com/office/officeart/2016/7/layout/RoundedRectangleTimeline"/>
    <dgm:cxn modelId="{668D9369-72D3-434D-A400-771A09FD95BC}" type="presParOf" srcId="{DCA48090-C4C7-4736-BDE0-C25D3FF0EE70}" destId="{52ED8438-FA17-459A-A442-A91BA1199954}" srcOrd="1" destOrd="0" presId="urn:microsoft.com/office/officeart/2016/7/layout/RoundedRectangleTimeline"/>
    <dgm:cxn modelId="{9D4188AF-DF5A-4810-970D-5C3C674BE3DA}" type="presParOf" srcId="{DCA48090-C4C7-4736-BDE0-C25D3FF0EE70}" destId="{A46217C5-00DB-444E-B512-719594E522DA}" srcOrd="2" destOrd="0" presId="urn:microsoft.com/office/officeart/2016/7/layout/RoundedRectangleTimeline"/>
    <dgm:cxn modelId="{D8F8C01C-C1C7-4690-8DC3-B99275E30729}" type="presParOf" srcId="{DCA48090-C4C7-4736-BDE0-C25D3FF0EE70}" destId="{44CFEE9C-A5F8-4D60-828D-5EE23D37A2AF}" srcOrd="3" destOrd="0" presId="urn:microsoft.com/office/officeart/2016/7/layout/RoundedRectangleTimeline"/>
    <dgm:cxn modelId="{1DC1C081-019F-4653-AA0F-6998B0405CD0}" type="presParOf" srcId="{DCA48090-C4C7-4736-BDE0-C25D3FF0EE70}" destId="{9FBEA5F3-E30F-4694-A273-A0D892D8227E}" srcOrd="4" destOrd="0" presId="urn:microsoft.com/office/officeart/2016/7/layout/RoundedRectangleTimeline"/>
    <dgm:cxn modelId="{F2412BDD-6B30-472F-8D51-29848A799FAB}" type="presParOf" srcId="{582E6E34-7EF7-4E8E-8DC8-4DD5129E11B3}" destId="{C95FF623-1D85-45C2-8DDF-4A0CB0BCE42A}" srcOrd="13" destOrd="0" presId="urn:microsoft.com/office/officeart/2016/7/layout/RoundedRectangleTimeline"/>
    <dgm:cxn modelId="{752B845F-25E8-48E2-9BB0-F90785992ECF}" type="presParOf" srcId="{582E6E34-7EF7-4E8E-8DC8-4DD5129E11B3}" destId="{1E1A2C0D-A221-4975-B9BE-2C06F3BEB1A6}" srcOrd="14" destOrd="0" presId="urn:microsoft.com/office/officeart/2016/7/layout/RoundedRectangleTimeline"/>
    <dgm:cxn modelId="{F6A6B956-88E9-448D-A3F2-C1607B32B19F}" type="presParOf" srcId="{1E1A2C0D-A221-4975-B9BE-2C06F3BEB1A6}" destId="{683B96C1-17D5-429D-B75D-F558A960CE0C}" srcOrd="0" destOrd="0" presId="urn:microsoft.com/office/officeart/2016/7/layout/RoundedRectangleTimeline"/>
    <dgm:cxn modelId="{D10BDE5A-D4FF-4999-829E-4DC98BF686B0}" type="presParOf" srcId="{1E1A2C0D-A221-4975-B9BE-2C06F3BEB1A6}" destId="{DE7E5952-8F38-4C15-BBC0-A95779E9EF38}" srcOrd="1" destOrd="0" presId="urn:microsoft.com/office/officeart/2016/7/layout/RoundedRectangleTimeline"/>
    <dgm:cxn modelId="{3F782097-8829-4493-84AB-86A695A5B2DF}" type="presParOf" srcId="{1E1A2C0D-A221-4975-B9BE-2C06F3BEB1A6}" destId="{B40660E7-480B-4517-8336-4F32C2822BE3}" srcOrd="2" destOrd="0" presId="urn:microsoft.com/office/officeart/2016/7/layout/RoundedRectangleTimeline"/>
    <dgm:cxn modelId="{F1155EAA-916D-46BD-B518-966E98F0666B}" type="presParOf" srcId="{1E1A2C0D-A221-4975-B9BE-2C06F3BEB1A6}" destId="{12D427F4-99AD-4AF6-848D-32B3B6C1983E}" srcOrd="3" destOrd="0" presId="urn:microsoft.com/office/officeart/2016/7/layout/RoundedRectangleTimeline"/>
    <dgm:cxn modelId="{A5DF5F2E-237B-4790-AFB7-25C21A5DA131}" type="presParOf" srcId="{1E1A2C0D-A221-4975-B9BE-2C06F3BEB1A6}" destId="{4DC2DD4D-783A-4F14-A369-DD175E0F2EED}" srcOrd="4" destOrd="0" presId="urn:microsoft.com/office/officeart/2016/7/layout/RoundedRectangleTimeline"/>
    <dgm:cxn modelId="{EB16D3DD-0CF9-4178-837E-2BD3EB7CB667}" type="presParOf" srcId="{582E6E34-7EF7-4E8E-8DC8-4DD5129E11B3}" destId="{4DB46ABC-6AFC-4A20-868C-852BFC0F46A7}" srcOrd="15" destOrd="0" presId="urn:microsoft.com/office/officeart/2016/7/layout/RoundedRectangleTimeline"/>
    <dgm:cxn modelId="{A7B09BF9-C651-43C5-B74C-4617F1280DED}" type="presParOf" srcId="{582E6E34-7EF7-4E8E-8DC8-4DD5129E11B3}" destId="{0A8539D0-CD49-4A94-BD8A-C11C9468C477}" srcOrd="16" destOrd="0" presId="urn:microsoft.com/office/officeart/2016/7/layout/RoundedRectangleTimeline"/>
    <dgm:cxn modelId="{D2EE86E8-E191-4882-B312-59BA36DBD44A}" type="presParOf" srcId="{0A8539D0-CD49-4A94-BD8A-C11C9468C477}" destId="{5EE58C29-08CA-4BD6-8750-F9DF2B5218E3}" srcOrd="0" destOrd="0" presId="urn:microsoft.com/office/officeart/2016/7/layout/RoundedRectangleTimeline"/>
    <dgm:cxn modelId="{46DEA43D-5E15-4375-94D8-E430A457D0C4}" type="presParOf" srcId="{0A8539D0-CD49-4A94-BD8A-C11C9468C477}" destId="{12B3EE98-8EA9-477D-94FC-AC58F05F5524}" srcOrd="1" destOrd="0" presId="urn:microsoft.com/office/officeart/2016/7/layout/RoundedRectangleTimeline"/>
    <dgm:cxn modelId="{FA6545B0-4336-4105-A5CC-DEF63AA71030}" type="presParOf" srcId="{0A8539D0-CD49-4A94-BD8A-C11C9468C477}" destId="{89CC0DF3-1F74-4B31-A04D-4075AB915F19}" srcOrd="2" destOrd="0" presId="urn:microsoft.com/office/officeart/2016/7/layout/RoundedRectangleTimeline"/>
    <dgm:cxn modelId="{2A046CB5-5856-41F1-B42D-3DC15B051DF3}" type="presParOf" srcId="{0A8539D0-CD49-4A94-BD8A-C11C9468C477}" destId="{84C9B3F7-DF05-4119-B805-6C432BEE03A2}" srcOrd="3" destOrd="0" presId="urn:microsoft.com/office/officeart/2016/7/layout/RoundedRectangleTimeline"/>
    <dgm:cxn modelId="{BA240642-8ACE-4969-8664-A272D5992125}" type="presParOf" srcId="{0A8539D0-CD49-4A94-BD8A-C11C9468C477}" destId="{A1260AED-7704-4BED-AE2B-9CE9E2C353E1}" srcOrd="4" destOrd="0" presId="urn:microsoft.com/office/officeart/2016/7/layout/RoundedRectangleTimeline"/>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6DA3134-3FF6-4391-8912-E2EA152871B5}"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s-CL"/>
        </a:p>
      </dgm:t>
    </dgm:pt>
    <dgm:pt modelId="{47F8205E-C20E-4162-BF23-A66DD5A0DB11}">
      <dgm:prSet phldrT="[Texto]"/>
      <dgm:spPr/>
      <dgm:t>
        <a:bodyPr/>
        <a:lstStyle/>
        <a:p>
          <a:pPr algn="ctr"/>
          <a:r>
            <a:rPr lang="es-CL" dirty="0"/>
            <a:t>69.515 </a:t>
          </a:r>
          <a:r>
            <a:rPr lang="es-CL" dirty="0" err="1"/>
            <a:t>Vehicles</a:t>
          </a:r>
          <a:r>
            <a:rPr lang="es-CL" dirty="0"/>
            <a:t> </a:t>
          </a:r>
          <a:r>
            <a:rPr lang="es-CL" dirty="0" err="1"/>
            <a:t>marketed</a:t>
          </a:r>
          <a:endParaRPr lang="es-CL" dirty="0"/>
        </a:p>
      </dgm:t>
    </dgm:pt>
    <dgm:pt modelId="{AFB25653-331B-4A31-9E92-73F78EC88938}" type="parTrans" cxnId="{C063227D-0D5C-48E6-9028-852DDA42B4DC}">
      <dgm:prSet/>
      <dgm:spPr/>
      <dgm:t>
        <a:bodyPr/>
        <a:lstStyle/>
        <a:p>
          <a:pPr algn="ctr"/>
          <a:endParaRPr lang="es-CL"/>
        </a:p>
      </dgm:t>
    </dgm:pt>
    <dgm:pt modelId="{6AE7D391-EFF1-4010-B94C-68EE685BE086}" type="sibTrans" cxnId="{C063227D-0D5C-48E6-9028-852DDA42B4DC}">
      <dgm:prSet/>
      <dgm:spPr/>
      <dgm:t>
        <a:bodyPr/>
        <a:lstStyle/>
        <a:p>
          <a:pPr algn="ctr"/>
          <a:endParaRPr lang="es-CL"/>
        </a:p>
      </dgm:t>
    </dgm:pt>
    <dgm:pt modelId="{AAA676CB-6DAF-47CB-B3AF-E8C6557BA8F2}">
      <dgm:prSet phldrT="[Texto]"/>
      <dgm:spPr/>
      <dgm:t>
        <a:bodyPr/>
        <a:lstStyle/>
        <a:p>
          <a:pPr algn="ctr"/>
          <a:r>
            <a:rPr lang="es-CL" dirty="0"/>
            <a:t>25 </a:t>
          </a:r>
          <a:r>
            <a:rPr lang="es-CL" dirty="0" err="1"/>
            <a:t>Importers</a:t>
          </a:r>
          <a:r>
            <a:rPr lang="es-CL" dirty="0"/>
            <a:t> in total</a:t>
          </a:r>
        </a:p>
      </dgm:t>
    </dgm:pt>
    <dgm:pt modelId="{DD4E279C-8050-4D3E-A453-BFFA565C9B5C}" type="parTrans" cxnId="{F7FBCEF4-D11E-4673-B4F7-4D4F20EF254F}">
      <dgm:prSet/>
      <dgm:spPr/>
      <dgm:t>
        <a:bodyPr/>
        <a:lstStyle/>
        <a:p>
          <a:pPr algn="ctr"/>
          <a:endParaRPr lang="es-CL"/>
        </a:p>
      </dgm:t>
    </dgm:pt>
    <dgm:pt modelId="{76CE465F-8067-449A-BF57-03CF6113F3D4}" type="sibTrans" cxnId="{F7FBCEF4-D11E-4673-B4F7-4D4F20EF254F}">
      <dgm:prSet/>
      <dgm:spPr/>
      <dgm:t>
        <a:bodyPr/>
        <a:lstStyle/>
        <a:p>
          <a:pPr algn="ctr"/>
          <a:endParaRPr lang="es-CL"/>
        </a:p>
      </dgm:t>
    </dgm:pt>
    <dgm:pt modelId="{8300D6B6-9180-4E60-8CA7-E8DF8AAF1F8B}">
      <dgm:prSet phldrT="[Texto]"/>
      <dgm:spPr/>
      <dgm:t>
        <a:bodyPr/>
        <a:lstStyle/>
        <a:p>
          <a:pPr algn="ctr"/>
          <a:r>
            <a:rPr lang="en-US" b="0" dirty="0"/>
            <a:t>8 importers meet the standard, accounting for 29% of sales in the period</a:t>
          </a:r>
          <a:endParaRPr lang="es-CL" b="0" dirty="0"/>
        </a:p>
      </dgm:t>
    </dgm:pt>
    <dgm:pt modelId="{5F865D30-9B5A-4EDF-B2AE-7888542B0075}" type="parTrans" cxnId="{B0F028C1-BFDE-4230-AB29-D23F802E5743}">
      <dgm:prSet/>
      <dgm:spPr/>
      <dgm:t>
        <a:bodyPr/>
        <a:lstStyle/>
        <a:p>
          <a:pPr algn="ctr"/>
          <a:endParaRPr lang="es-CL"/>
        </a:p>
      </dgm:t>
    </dgm:pt>
    <dgm:pt modelId="{3C6F9981-133E-4AC1-83B9-2D23605D295F}" type="sibTrans" cxnId="{B0F028C1-BFDE-4230-AB29-D23F802E5743}">
      <dgm:prSet/>
      <dgm:spPr/>
      <dgm:t>
        <a:bodyPr/>
        <a:lstStyle/>
        <a:p>
          <a:pPr algn="ctr"/>
          <a:endParaRPr lang="es-CL"/>
        </a:p>
      </dgm:t>
    </dgm:pt>
    <dgm:pt modelId="{1237E638-3716-4456-BC90-8C3AD8E2CD26}">
      <dgm:prSet phldrT="[Texto]"/>
      <dgm:spPr/>
      <dgm:t>
        <a:bodyPr/>
        <a:lstStyle/>
        <a:p>
          <a:pPr algn="ctr"/>
          <a:r>
            <a:rPr lang="en-US" b="0" dirty="0"/>
            <a:t>In 2021, only 3 importers complied, representing 6% of the year's sales</a:t>
          </a:r>
          <a:endParaRPr lang="es-CL" b="0" dirty="0"/>
        </a:p>
      </dgm:t>
    </dgm:pt>
    <dgm:pt modelId="{CA51BFD7-7EC4-4C84-AE7A-F9127F476712}" type="parTrans" cxnId="{6BEA96EE-1940-4295-83DC-6714106894A8}">
      <dgm:prSet/>
      <dgm:spPr/>
      <dgm:t>
        <a:bodyPr/>
        <a:lstStyle/>
        <a:p>
          <a:endParaRPr lang="es-CL"/>
        </a:p>
      </dgm:t>
    </dgm:pt>
    <dgm:pt modelId="{DF969C0C-4DF4-48D1-A4D7-97A1B2B10B16}" type="sibTrans" cxnId="{6BEA96EE-1940-4295-83DC-6714106894A8}">
      <dgm:prSet/>
      <dgm:spPr/>
      <dgm:t>
        <a:bodyPr/>
        <a:lstStyle/>
        <a:p>
          <a:endParaRPr lang="es-CL"/>
        </a:p>
      </dgm:t>
    </dgm:pt>
    <dgm:pt modelId="{35932658-E5A6-476F-BE0F-F36A8739032B}" type="pres">
      <dgm:prSet presAssocID="{06DA3134-3FF6-4391-8912-E2EA152871B5}" presName="linear" presStyleCnt="0">
        <dgm:presLayoutVars>
          <dgm:animLvl val="lvl"/>
          <dgm:resizeHandles val="exact"/>
        </dgm:presLayoutVars>
      </dgm:prSet>
      <dgm:spPr/>
    </dgm:pt>
    <dgm:pt modelId="{22BC10CF-09EA-4461-9187-8D5FEC23C76D}" type="pres">
      <dgm:prSet presAssocID="{47F8205E-C20E-4162-BF23-A66DD5A0DB11}" presName="parentText" presStyleLbl="node1" presStyleIdx="0" presStyleCnt="4">
        <dgm:presLayoutVars>
          <dgm:chMax val="0"/>
          <dgm:bulletEnabled val="1"/>
        </dgm:presLayoutVars>
      </dgm:prSet>
      <dgm:spPr/>
    </dgm:pt>
    <dgm:pt modelId="{AF63EBC6-058D-49A3-8713-DB2528DE875C}" type="pres">
      <dgm:prSet presAssocID="{6AE7D391-EFF1-4010-B94C-68EE685BE086}" presName="spacer" presStyleCnt="0"/>
      <dgm:spPr/>
    </dgm:pt>
    <dgm:pt modelId="{BC6A78FD-EE2C-40DE-8974-6B20D7A8C789}" type="pres">
      <dgm:prSet presAssocID="{AAA676CB-6DAF-47CB-B3AF-E8C6557BA8F2}" presName="parentText" presStyleLbl="node1" presStyleIdx="1" presStyleCnt="4">
        <dgm:presLayoutVars>
          <dgm:chMax val="0"/>
          <dgm:bulletEnabled val="1"/>
        </dgm:presLayoutVars>
      </dgm:prSet>
      <dgm:spPr/>
    </dgm:pt>
    <dgm:pt modelId="{30981BE0-7FE1-4B10-AC3D-ED58DFDCDD4D}" type="pres">
      <dgm:prSet presAssocID="{76CE465F-8067-449A-BF57-03CF6113F3D4}" presName="spacer" presStyleCnt="0"/>
      <dgm:spPr/>
    </dgm:pt>
    <dgm:pt modelId="{7B9E6B4B-5653-4461-8CEA-B00B7D291C82}" type="pres">
      <dgm:prSet presAssocID="{8300D6B6-9180-4E60-8CA7-E8DF8AAF1F8B}" presName="parentText" presStyleLbl="node1" presStyleIdx="2" presStyleCnt="4">
        <dgm:presLayoutVars>
          <dgm:chMax val="0"/>
          <dgm:bulletEnabled val="1"/>
        </dgm:presLayoutVars>
      </dgm:prSet>
      <dgm:spPr/>
    </dgm:pt>
    <dgm:pt modelId="{1D95BDF6-7D7A-47B4-87AE-EF9BB28DB525}" type="pres">
      <dgm:prSet presAssocID="{3C6F9981-133E-4AC1-83B9-2D23605D295F}" presName="spacer" presStyleCnt="0"/>
      <dgm:spPr/>
    </dgm:pt>
    <dgm:pt modelId="{554E87F6-140E-4ADF-9FB6-81873D538A0B}" type="pres">
      <dgm:prSet presAssocID="{1237E638-3716-4456-BC90-8C3AD8E2CD26}" presName="parentText" presStyleLbl="node1" presStyleIdx="3" presStyleCnt="4">
        <dgm:presLayoutVars>
          <dgm:chMax val="0"/>
          <dgm:bulletEnabled val="1"/>
        </dgm:presLayoutVars>
      </dgm:prSet>
      <dgm:spPr/>
    </dgm:pt>
  </dgm:ptLst>
  <dgm:cxnLst>
    <dgm:cxn modelId="{C063227D-0D5C-48E6-9028-852DDA42B4DC}" srcId="{06DA3134-3FF6-4391-8912-E2EA152871B5}" destId="{47F8205E-C20E-4162-BF23-A66DD5A0DB11}" srcOrd="0" destOrd="0" parTransId="{AFB25653-331B-4A31-9E92-73F78EC88938}" sibTransId="{6AE7D391-EFF1-4010-B94C-68EE685BE086}"/>
    <dgm:cxn modelId="{DF11EB80-0FE1-435C-990E-1FBE5C0D1D93}" type="presOf" srcId="{06DA3134-3FF6-4391-8912-E2EA152871B5}" destId="{35932658-E5A6-476F-BE0F-F36A8739032B}" srcOrd="0" destOrd="0" presId="urn:microsoft.com/office/officeart/2005/8/layout/vList2"/>
    <dgm:cxn modelId="{32F4B69B-7EFC-46B0-AA32-0056CD0BC879}" type="presOf" srcId="{47F8205E-C20E-4162-BF23-A66DD5A0DB11}" destId="{22BC10CF-09EA-4461-9187-8D5FEC23C76D}" srcOrd="0" destOrd="0" presId="urn:microsoft.com/office/officeart/2005/8/layout/vList2"/>
    <dgm:cxn modelId="{82B30CBF-6157-4617-92B6-15F8145DF19B}" type="presOf" srcId="{8300D6B6-9180-4E60-8CA7-E8DF8AAF1F8B}" destId="{7B9E6B4B-5653-4461-8CEA-B00B7D291C82}" srcOrd="0" destOrd="0" presId="urn:microsoft.com/office/officeart/2005/8/layout/vList2"/>
    <dgm:cxn modelId="{B0F028C1-BFDE-4230-AB29-D23F802E5743}" srcId="{06DA3134-3FF6-4391-8912-E2EA152871B5}" destId="{8300D6B6-9180-4E60-8CA7-E8DF8AAF1F8B}" srcOrd="2" destOrd="0" parTransId="{5F865D30-9B5A-4EDF-B2AE-7888542B0075}" sibTransId="{3C6F9981-133E-4AC1-83B9-2D23605D295F}"/>
    <dgm:cxn modelId="{1FF089C1-8044-4A92-A243-FBF528F8B223}" type="presOf" srcId="{1237E638-3716-4456-BC90-8C3AD8E2CD26}" destId="{554E87F6-140E-4ADF-9FB6-81873D538A0B}" srcOrd="0" destOrd="0" presId="urn:microsoft.com/office/officeart/2005/8/layout/vList2"/>
    <dgm:cxn modelId="{FF4CF8D2-13FE-4D37-94AA-2BB796C2DD09}" type="presOf" srcId="{AAA676CB-6DAF-47CB-B3AF-E8C6557BA8F2}" destId="{BC6A78FD-EE2C-40DE-8974-6B20D7A8C789}" srcOrd="0" destOrd="0" presId="urn:microsoft.com/office/officeart/2005/8/layout/vList2"/>
    <dgm:cxn modelId="{6BEA96EE-1940-4295-83DC-6714106894A8}" srcId="{06DA3134-3FF6-4391-8912-E2EA152871B5}" destId="{1237E638-3716-4456-BC90-8C3AD8E2CD26}" srcOrd="3" destOrd="0" parTransId="{CA51BFD7-7EC4-4C84-AE7A-F9127F476712}" sibTransId="{DF969C0C-4DF4-48D1-A4D7-97A1B2B10B16}"/>
    <dgm:cxn modelId="{F7FBCEF4-D11E-4673-B4F7-4D4F20EF254F}" srcId="{06DA3134-3FF6-4391-8912-E2EA152871B5}" destId="{AAA676CB-6DAF-47CB-B3AF-E8C6557BA8F2}" srcOrd="1" destOrd="0" parTransId="{DD4E279C-8050-4D3E-A453-BFFA565C9B5C}" sibTransId="{76CE465F-8067-449A-BF57-03CF6113F3D4}"/>
    <dgm:cxn modelId="{DB16313F-F275-411A-BB30-1A552A3766D9}" type="presParOf" srcId="{35932658-E5A6-476F-BE0F-F36A8739032B}" destId="{22BC10CF-09EA-4461-9187-8D5FEC23C76D}" srcOrd="0" destOrd="0" presId="urn:microsoft.com/office/officeart/2005/8/layout/vList2"/>
    <dgm:cxn modelId="{A0CB2F46-FD8F-402A-B605-58B0DB830C34}" type="presParOf" srcId="{35932658-E5A6-476F-BE0F-F36A8739032B}" destId="{AF63EBC6-058D-49A3-8713-DB2528DE875C}" srcOrd="1" destOrd="0" presId="urn:microsoft.com/office/officeart/2005/8/layout/vList2"/>
    <dgm:cxn modelId="{372C85A2-CD83-4D62-BC9E-45F5D092D683}" type="presParOf" srcId="{35932658-E5A6-476F-BE0F-F36A8739032B}" destId="{BC6A78FD-EE2C-40DE-8974-6B20D7A8C789}" srcOrd="2" destOrd="0" presId="urn:microsoft.com/office/officeart/2005/8/layout/vList2"/>
    <dgm:cxn modelId="{B68B30E9-2E9A-4F6A-8C20-425DBD5ECC28}" type="presParOf" srcId="{35932658-E5A6-476F-BE0F-F36A8739032B}" destId="{30981BE0-7FE1-4B10-AC3D-ED58DFDCDD4D}" srcOrd="3" destOrd="0" presId="urn:microsoft.com/office/officeart/2005/8/layout/vList2"/>
    <dgm:cxn modelId="{99DE1189-D91C-4A32-BADB-4DDB878FB3B0}" type="presParOf" srcId="{35932658-E5A6-476F-BE0F-F36A8739032B}" destId="{7B9E6B4B-5653-4461-8CEA-B00B7D291C82}" srcOrd="4" destOrd="0" presId="urn:microsoft.com/office/officeart/2005/8/layout/vList2"/>
    <dgm:cxn modelId="{AEC2978C-186D-48B4-9425-A05BB9B3BF41}" type="presParOf" srcId="{35932658-E5A6-476F-BE0F-F36A8739032B}" destId="{1D95BDF6-7D7A-47B4-87AE-EF9BB28DB525}" srcOrd="5" destOrd="0" presId="urn:microsoft.com/office/officeart/2005/8/layout/vList2"/>
    <dgm:cxn modelId="{C273E0E8-77BF-4C02-8DBD-CC386F4CB56D}" type="presParOf" srcId="{35932658-E5A6-476F-BE0F-F36A8739032B}" destId="{554E87F6-140E-4ADF-9FB6-81873D538A0B}"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6DA3134-3FF6-4391-8912-E2EA152871B5}" type="doc">
      <dgm:prSet loTypeId="urn:microsoft.com/office/officeart/2005/8/layout/default" loCatId="list" qsTypeId="urn:microsoft.com/office/officeart/2005/8/quickstyle/simple1" qsCatId="simple" csTypeId="urn:microsoft.com/office/officeart/2005/8/colors/accent3_2" csCatId="accent3" phldr="1"/>
      <dgm:spPr/>
      <dgm:t>
        <a:bodyPr/>
        <a:lstStyle/>
        <a:p>
          <a:endParaRPr lang="es-CL"/>
        </a:p>
      </dgm:t>
    </dgm:pt>
    <dgm:pt modelId="{47F8205E-C20E-4162-BF23-A66DD5A0DB11}">
      <dgm:prSet phldrT="[Texto]" custT="1"/>
      <dgm:spPr/>
      <dgm:t>
        <a:bodyPr/>
        <a:lstStyle/>
        <a:p>
          <a:pPr algn="ctr"/>
          <a:r>
            <a:rPr lang="es-CL" sz="2600" b="1" dirty="0"/>
            <a:t>69.515</a:t>
          </a:r>
        </a:p>
        <a:p>
          <a:pPr algn="ctr"/>
          <a:r>
            <a:rPr lang="en-US" sz="2400" dirty="0"/>
            <a:t>Total sales recorded in the first period</a:t>
          </a:r>
          <a:endParaRPr lang="es-CL" sz="2400" dirty="0"/>
        </a:p>
      </dgm:t>
    </dgm:pt>
    <dgm:pt modelId="{AFB25653-331B-4A31-9E92-73F78EC88938}" type="parTrans" cxnId="{C063227D-0D5C-48E6-9028-852DDA42B4DC}">
      <dgm:prSet/>
      <dgm:spPr/>
      <dgm:t>
        <a:bodyPr/>
        <a:lstStyle/>
        <a:p>
          <a:pPr algn="ctr"/>
          <a:endParaRPr lang="es-CL"/>
        </a:p>
      </dgm:t>
    </dgm:pt>
    <dgm:pt modelId="{6AE7D391-EFF1-4010-B94C-68EE685BE086}" type="sibTrans" cxnId="{C063227D-0D5C-48E6-9028-852DDA42B4DC}">
      <dgm:prSet/>
      <dgm:spPr/>
      <dgm:t>
        <a:bodyPr/>
        <a:lstStyle/>
        <a:p>
          <a:pPr algn="ctr"/>
          <a:endParaRPr lang="es-CL"/>
        </a:p>
      </dgm:t>
    </dgm:pt>
    <dgm:pt modelId="{A2B1C5FF-9B40-427E-8DBC-0022FBE1861A}">
      <dgm:prSet phldrT="[Texto]" custT="1"/>
      <dgm:spPr/>
      <dgm:t>
        <a:bodyPr/>
        <a:lstStyle/>
        <a:p>
          <a:pPr algn="ctr"/>
          <a:r>
            <a:rPr lang="es-CL" sz="2600" b="1" dirty="0"/>
            <a:t>19.916</a:t>
          </a:r>
        </a:p>
        <a:p>
          <a:pPr algn="ctr"/>
          <a:r>
            <a:rPr lang="en-US" sz="2400" dirty="0"/>
            <a:t>Sum of sales of importers that comply</a:t>
          </a:r>
          <a:endParaRPr lang="es-CL" sz="2400" dirty="0"/>
        </a:p>
      </dgm:t>
    </dgm:pt>
    <dgm:pt modelId="{D7D3F87B-4159-4C49-98D5-F2786B5B2DE4}" type="parTrans" cxnId="{D1CE4F67-BE8F-44B6-9A7A-814EEC543177}">
      <dgm:prSet/>
      <dgm:spPr/>
      <dgm:t>
        <a:bodyPr/>
        <a:lstStyle/>
        <a:p>
          <a:endParaRPr lang="es-CL"/>
        </a:p>
      </dgm:t>
    </dgm:pt>
    <dgm:pt modelId="{811A0B72-D544-4784-8465-51199A4A6A23}" type="sibTrans" cxnId="{D1CE4F67-BE8F-44B6-9A7A-814EEC543177}">
      <dgm:prSet/>
      <dgm:spPr/>
      <dgm:t>
        <a:bodyPr/>
        <a:lstStyle/>
        <a:p>
          <a:endParaRPr lang="es-CL"/>
        </a:p>
      </dgm:t>
    </dgm:pt>
    <dgm:pt modelId="{1D445BC4-77A4-4207-BA41-6A278E69929B}" type="pres">
      <dgm:prSet presAssocID="{06DA3134-3FF6-4391-8912-E2EA152871B5}" presName="diagram" presStyleCnt="0">
        <dgm:presLayoutVars>
          <dgm:dir/>
          <dgm:resizeHandles val="exact"/>
        </dgm:presLayoutVars>
      </dgm:prSet>
      <dgm:spPr/>
    </dgm:pt>
    <dgm:pt modelId="{E0A48F4E-66D2-4609-8FDB-EB81B4037E0D}" type="pres">
      <dgm:prSet presAssocID="{47F8205E-C20E-4162-BF23-A66DD5A0DB11}" presName="node" presStyleLbl="node1" presStyleIdx="0" presStyleCnt="2">
        <dgm:presLayoutVars>
          <dgm:bulletEnabled val="1"/>
        </dgm:presLayoutVars>
      </dgm:prSet>
      <dgm:spPr/>
    </dgm:pt>
    <dgm:pt modelId="{18068462-489E-4E8E-BF3F-A9A9503FD4B5}" type="pres">
      <dgm:prSet presAssocID="{6AE7D391-EFF1-4010-B94C-68EE685BE086}" presName="sibTrans" presStyleCnt="0"/>
      <dgm:spPr/>
    </dgm:pt>
    <dgm:pt modelId="{328DCA42-13F3-44C0-BAF4-DB5A7EC0D4FE}" type="pres">
      <dgm:prSet presAssocID="{A2B1C5FF-9B40-427E-8DBC-0022FBE1861A}" presName="node" presStyleLbl="node1" presStyleIdx="1" presStyleCnt="2">
        <dgm:presLayoutVars>
          <dgm:bulletEnabled val="1"/>
        </dgm:presLayoutVars>
      </dgm:prSet>
      <dgm:spPr/>
    </dgm:pt>
  </dgm:ptLst>
  <dgm:cxnLst>
    <dgm:cxn modelId="{D1CE4F67-BE8F-44B6-9A7A-814EEC543177}" srcId="{06DA3134-3FF6-4391-8912-E2EA152871B5}" destId="{A2B1C5FF-9B40-427E-8DBC-0022FBE1861A}" srcOrd="1" destOrd="0" parTransId="{D7D3F87B-4159-4C49-98D5-F2786B5B2DE4}" sibTransId="{811A0B72-D544-4784-8465-51199A4A6A23}"/>
    <dgm:cxn modelId="{C063227D-0D5C-48E6-9028-852DDA42B4DC}" srcId="{06DA3134-3FF6-4391-8912-E2EA152871B5}" destId="{47F8205E-C20E-4162-BF23-A66DD5A0DB11}" srcOrd="0" destOrd="0" parTransId="{AFB25653-331B-4A31-9E92-73F78EC88938}" sibTransId="{6AE7D391-EFF1-4010-B94C-68EE685BE086}"/>
    <dgm:cxn modelId="{1FC27AA6-C5E5-47D2-BCA1-0C9D64F504D4}" type="presOf" srcId="{06DA3134-3FF6-4391-8912-E2EA152871B5}" destId="{1D445BC4-77A4-4207-BA41-6A278E69929B}" srcOrd="0" destOrd="0" presId="urn:microsoft.com/office/officeart/2005/8/layout/default"/>
    <dgm:cxn modelId="{B5DA56C8-5EAD-4341-B25F-6F6F13B45901}" type="presOf" srcId="{47F8205E-C20E-4162-BF23-A66DD5A0DB11}" destId="{E0A48F4E-66D2-4609-8FDB-EB81B4037E0D}" srcOrd="0" destOrd="0" presId="urn:microsoft.com/office/officeart/2005/8/layout/default"/>
    <dgm:cxn modelId="{2DE64FF7-AA29-422F-B7D8-DB36E73F8246}" type="presOf" srcId="{A2B1C5FF-9B40-427E-8DBC-0022FBE1861A}" destId="{328DCA42-13F3-44C0-BAF4-DB5A7EC0D4FE}" srcOrd="0" destOrd="0" presId="urn:microsoft.com/office/officeart/2005/8/layout/default"/>
    <dgm:cxn modelId="{852F8CDC-097E-420D-93D4-2DF796E96EB8}" type="presParOf" srcId="{1D445BC4-77A4-4207-BA41-6A278E69929B}" destId="{E0A48F4E-66D2-4609-8FDB-EB81B4037E0D}" srcOrd="0" destOrd="0" presId="urn:microsoft.com/office/officeart/2005/8/layout/default"/>
    <dgm:cxn modelId="{2C4C13DA-0D76-4820-B3DC-C0AA87C543CD}" type="presParOf" srcId="{1D445BC4-77A4-4207-BA41-6A278E69929B}" destId="{18068462-489E-4E8E-BF3F-A9A9503FD4B5}" srcOrd="1" destOrd="0" presId="urn:microsoft.com/office/officeart/2005/8/layout/default"/>
    <dgm:cxn modelId="{B52BFB9E-2BB9-4114-A73E-0A1E5BDB8D2D}" type="presParOf" srcId="{1D445BC4-77A4-4207-BA41-6A278E69929B}" destId="{328DCA42-13F3-44C0-BAF4-DB5A7EC0D4FE}" srcOrd="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EC0831-F7B9-4BF1-9CFC-43AED02CD785}">
      <dsp:nvSpPr>
        <dsp:cNvPr id="0" name=""/>
        <dsp:cNvSpPr/>
      </dsp:nvSpPr>
      <dsp:spPr>
        <a:xfrm>
          <a:off x="0" y="360"/>
          <a:ext cx="10927079" cy="84398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C582D0A-A7FA-455A-87BA-1AB61D633737}">
      <dsp:nvSpPr>
        <dsp:cNvPr id="0" name=""/>
        <dsp:cNvSpPr/>
      </dsp:nvSpPr>
      <dsp:spPr>
        <a:xfrm>
          <a:off x="255304" y="190256"/>
          <a:ext cx="464189" cy="46418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ADFA6C-2637-434B-8C47-00BC776ACBF7}">
      <dsp:nvSpPr>
        <dsp:cNvPr id="0" name=""/>
        <dsp:cNvSpPr/>
      </dsp:nvSpPr>
      <dsp:spPr>
        <a:xfrm>
          <a:off x="974798" y="360"/>
          <a:ext cx="9952281" cy="843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9321" tIns="89321" rIns="89321" bIns="89321" numCol="1" spcCol="1270" anchor="ctr" anchorCtr="0">
          <a:noAutofit/>
        </a:bodyPr>
        <a:lstStyle/>
        <a:p>
          <a:pPr marL="0" lvl="0" indent="0" algn="l" defTabSz="1022350">
            <a:lnSpc>
              <a:spcPct val="100000"/>
            </a:lnSpc>
            <a:spcBef>
              <a:spcPct val="0"/>
            </a:spcBef>
            <a:spcAft>
              <a:spcPct val="35000"/>
            </a:spcAft>
            <a:buNone/>
          </a:pPr>
          <a:r>
            <a:rPr lang="en-US" sz="2300" b="1" kern="1200" dirty="0"/>
            <a:t>Stages of the Policy for Energy Performance Standards for Vehicles</a:t>
          </a:r>
          <a:r>
            <a:rPr lang="es-MX" sz="2300" b="1" kern="1200" dirty="0"/>
            <a:t>.</a:t>
          </a:r>
          <a:endParaRPr lang="en-US" sz="2300" kern="1200" dirty="0"/>
        </a:p>
      </dsp:txBody>
      <dsp:txXfrm>
        <a:off x="974798" y="360"/>
        <a:ext cx="9952281" cy="843981"/>
      </dsp:txXfrm>
    </dsp:sp>
    <dsp:sp modelId="{BF1E50ED-B9E0-4559-9771-BB2FC50AF127}">
      <dsp:nvSpPr>
        <dsp:cNvPr id="0" name=""/>
        <dsp:cNvSpPr/>
      </dsp:nvSpPr>
      <dsp:spPr>
        <a:xfrm>
          <a:off x="0" y="1055336"/>
          <a:ext cx="10927079" cy="84398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72CAB40-D4A9-4164-B997-57F2FEC7F7EE}">
      <dsp:nvSpPr>
        <dsp:cNvPr id="0" name=""/>
        <dsp:cNvSpPr/>
      </dsp:nvSpPr>
      <dsp:spPr>
        <a:xfrm>
          <a:off x="255304" y="1245232"/>
          <a:ext cx="464189" cy="46418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76AAF1-E2B4-479A-B36F-C8FC9DC5B203}">
      <dsp:nvSpPr>
        <dsp:cNvPr id="0" name=""/>
        <dsp:cNvSpPr/>
      </dsp:nvSpPr>
      <dsp:spPr>
        <a:xfrm>
          <a:off x="974798" y="1055336"/>
          <a:ext cx="9952281" cy="843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9321" tIns="89321" rIns="89321" bIns="89321" numCol="1" spcCol="1270" anchor="ctr" anchorCtr="0">
          <a:noAutofit/>
        </a:bodyPr>
        <a:lstStyle/>
        <a:p>
          <a:pPr marL="0" lvl="0" indent="0" algn="l" defTabSz="1022350">
            <a:lnSpc>
              <a:spcPct val="100000"/>
            </a:lnSpc>
            <a:spcBef>
              <a:spcPct val="0"/>
            </a:spcBef>
            <a:spcAft>
              <a:spcPct val="35000"/>
            </a:spcAft>
            <a:buNone/>
          </a:pPr>
          <a:r>
            <a:rPr lang="es-MX" sz="2300" b="1" kern="1200" dirty="0" err="1"/>
            <a:t>Implementation</a:t>
          </a:r>
          <a:r>
            <a:rPr lang="es-MX" sz="2300" b="1" kern="1200" dirty="0"/>
            <a:t> </a:t>
          </a:r>
          <a:r>
            <a:rPr lang="es-MX" sz="2300" b="1" kern="1200" dirty="0" err="1"/>
            <a:t>of</a:t>
          </a:r>
          <a:r>
            <a:rPr lang="es-MX" sz="2300" b="1" kern="1200" dirty="0"/>
            <a:t> </a:t>
          </a:r>
          <a:r>
            <a:rPr lang="es-MX" sz="2300" b="1" kern="1200" dirty="0" err="1"/>
            <a:t>the</a:t>
          </a:r>
          <a:r>
            <a:rPr lang="es-MX" sz="2300" b="1" kern="1200" dirty="0"/>
            <a:t> </a:t>
          </a:r>
          <a:r>
            <a:rPr lang="es-MX" sz="2300" b="1" kern="1200" dirty="0" err="1"/>
            <a:t>policy</a:t>
          </a:r>
          <a:r>
            <a:rPr lang="es-MX" sz="2300" b="1" kern="1200" dirty="0"/>
            <a:t>.</a:t>
          </a:r>
          <a:endParaRPr lang="en-US" sz="2300" kern="1200" dirty="0"/>
        </a:p>
      </dsp:txBody>
      <dsp:txXfrm>
        <a:off x="974798" y="1055336"/>
        <a:ext cx="9952281" cy="843981"/>
      </dsp:txXfrm>
    </dsp:sp>
    <dsp:sp modelId="{BA51495C-3595-4180-9866-B9D4DE43A558}">
      <dsp:nvSpPr>
        <dsp:cNvPr id="0" name=""/>
        <dsp:cNvSpPr/>
      </dsp:nvSpPr>
      <dsp:spPr>
        <a:xfrm>
          <a:off x="0" y="2110313"/>
          <a:ext cx="10927079" cy="84398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63DD9DC-A85E-497A-AFA6-8E7C8276ACD5}">
      <dsp:nvSpPr>
        <dsp:cNvPr id="0" name=""/>
        <dsp:cNvSpPr/>
      </dsp:nvSpPr>
      <dsp:spPr>
        <a:xfrm>
          <a:off x="255304" y="2300209"/>
          <a:ext cx="464189" cy="464189"/>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FDC404-CDF5-493B-AA1A-F1A62D97289E}">
      <dsp:nvSpPr>
        <dsp:cNvPr id="0" name=""/>
        <dsp:cNvSpPr/>
      </dsp:nvSpPr>
      <dsp:spPr>
        <a:xfrm>
          <a:off x="974798" y="2110313"/>
          <a:ext cx="9952281" cy="843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9321" tIns="89321" rIns="89321" bIns="89321" numCol="1" spcCol="1270" anchor="ctr" anchorCtr="0">
          <a:noAutofit/>
        </a:bodyPr>
        <a:lstStyle/>
        <a:p>
          <a:pPr marL="0" lvl="0" indent="0" algn="l" defTabSz="1022350">
            <a:lnSpc>
              <a:spcPct val="100000"/>
            </a:lnSpc>
            <a:spcBef>
              <a:spcPct val="0"/>
            </a:spcBef>
            <a:spcAft>
              <a:spcPct val="35000"/>
            </a:spcAft>
            <a:buNone/>
          </a:pPr>
          <a:r>
            <a:rPr lang="es-MX" sz="2300" b="1" kern="1200" dirty="0" err="1"/>
            <a:t>Challenges</a:t>
          </a:r>
          <a:r>
            <a:rPr lang="es-MX" sz="2300" b="1" kern="1200" dirty="0"/>
            <a:t>.</a:t>
          </a:r>
          <a:endParaRPr lang="en-US" sz="2300" kern="1200" dirty="0"/>
        </a:p>
      </dsp:txBody>
      <dsp:txXfrm>
        <a:off x="974798" y="2110313"/>
        <a:ext cx="9952281" cy="84398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BC10CF-09EA-4461-9187-8D5FEC23C76D}">
      <dsp:nvSpPr>
        <dsp:cNvPr id="0" name=""/>
        <dsp:cNvSpPr/>
      </dsp:nvSpPr>
      <dsp:spPr>
        <a:xfrm>
          <a:off x="0" y="777218"/>
          <a:ext cx="5486046" cy="50368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Change in Test Methods: NEDC -&gt; WLTP</a:t>
          </a:r>
          <a:endParaRPr lang="es-CL" sz="2100" kern="1200" dirty="0"/>
        </a:p>
      </dsp:txBody>
      <dsp:txXfrm>
        <a:off x="24588" y="801806"/>
        <a:ext cx="5436870" cy="454509"/>
      </dsp:txXfrm>
    </dsp:sp>
    <dsp:sp modelId="{BC6A78FD-EE2C-40DE-8974-6B20D7A8C789}">
      <dsp:nvSpPr>
        <dsp:cNvPr id="0" name=""/>
        <dsp:cNvSpPr/>
      </dsp:nvSpPr>
      <dsp:spPr>
        <a:xfrm>
          <a:off x="0" y="1341383"/>
          <a:ext cx="5486046" cy="50368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MX" sz="2100" kern="1200" dirty="0"/>
            <a:t>Heavy </a:t>
          </a:r>
          <a:r>
            <a:rPr lang="es-MX" sz="2100" kern="1200" dirty="0" err="1"/>
            <a:t>Duty</a:t>
          </a:r>
          <a:r>
            <a:rPr lang="es-MX" sz="2100" kern="1200" dirty="0"/>
            <a:t> </a:t>
          </a:r>
          <a:r>
            <a:rPr lang="es-MX" sz="2100" kern="1200" dirty="0" err="1"/>
            <a:t>Vehicle</a:t>
          </a:r>
          <a:r>
            <a:rPr lang="es-MX" sz="2100" kern="1200" dirty="0"/>
            <a:t> </a:t>
          </a:r>
          <a:r>
            <a:rPr lang="es-MX" sz="2100" kern="1200" dirty="0" err="1"/>
            <a:t>Standards</a:t>
          </a:r>
          <a:endParaRPr lang="es-CL" sz="2100" kern="1200" dirty="0"/>
        </a:p>
      </dsp:txBody>
      <dsp:txXfrm>
        <a:off x="24588" y="1365971"/>
        <a:ext cx="5436870" cy="454509"/>
      </dsp:txXfrm>
    </dsp:sp>
    <dsp:sp modelId="{7B9E6B4B-5653-4461-8CEA-B00B7D291C82}">
      <dsp:nvSpPr>
        <dsp:cNvPr id="0" name=""/>
        <dsp:cNvSpPr/>
      </dsp:nvSpPr>
      <dsp:spPr>
        <a:xfrm>
          <a:off x="0" y="1905548"/>
          <a:ext cx="5486046" cy="50368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MX" sz="2100" kern="1200" dirty="0" err="1"/>
            <a:t>Metrics</a:t>
          </a:r>
          <a:r>
            <a:rPr lang="es-MX" sz="2100" kern="1200" dirty="0"/>
            <a:t> and </a:t>
          </a:r>
          <a:r>
            <a:rPr lang="es-MX" sz="2100" kern="1200" dirty="0" err="1"/>
            <a:t>labs</a:t>
          </a:r>
          <a:endParaRPr lang="es-CL" sz="2100" b="1" kern="1200" dirty="0"/>
        </a:p>
      </dsp:txBody>
      <dsp:txXfrm>
        <a:off x="24588" y="1930136"/>
        <a:ext cx="5436870" cy="454509"/>
      </dsp:txXfrm>
    </dsp:sp>
    <dsp:sp modelId="{C20030A5-D76A-4952-9DB9-E55747874549}">
      <dsp:nvSpPr>
        <dsp:cNvPr id="0" name=""/>
        <dsp:cNvSpPr/>
      </dsp:nvSpPr>
      <dsp:spPr>
        <a:xfrm>
          <a:off x="0" y="2469713"/>
          <a:ext cx="5486046" cy="50368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s-MX" sz="2100" b="0" kern="1200" dirty="0"/>
            <a:t>International/</a:t>
          </a:r>
          <a:r>
            <a:rPr lang="es-MX" sz="2100" b="0" kern="1200" dirty="0" err="1"/>
            <a:t>National</a:t>
          </a:r>
          <a:r>
            <a:rPr lang="es-MX" sz="2100" b="0" kern="1200" dirty="0"/>
            <a:t> </a:t>
          </a:r>
          <a:r>
            <a:rPr lang="es-MX" sz="2100" b="0" kern="1200" dirty="0" err="1"/>
            <a:t>Experience</a:t>
          </a:r>
          <a:endParaRPr lang="es-CL" sz="2100" b="0" kern="1200" dirty="0"/>
        </a:p>
      </dsp:txBody>
      <dsp:txXfrm>
        <a:off x="24588" y="2494301"/>
        <a:ext cx="5436870" cy="454509"/>
      </dsp:txXfrm>
    </dsp:sp>
    <dsp:sp modelId="{3D17A67A-58EB-4D05-96CA-C1969C596648}">
      <dsp:nvSpPr>
        <dsp:cNvPr id="0" name=""/>
        <dsp:cNvSpPr/>
      </dsp:nvSpPr>
      <dsp:spPr>
        <a:xfrm>
          <a:off x="0" y="3033878"/>
          <a:ext cx="5486046" cy="50368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0" kern="1200" dirty="0"/>
            <a:t>Deadlines defined in EE Law.</a:t>
          </a:r>
          <a:endParaRPr lang="es-CL" sz="2100" b="0" kern="1200" dirty="0"/>
        </a:p>
      </dsp:txBody>
      <dsp:txXfrm>
        <a:off x="24588" y="3058466"/>
        <a:ext cx="5436870" cy="45450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FBAA9D-3C98-4312-ABD5-AAC590CA1F4B}">
      <dsp:nvSpPr>
        <dsp:cNvPr id="0" name=""/>
        <dsp:cNvSpPr/>
      </dsp:nvSpPr>
      <dsp:spPr>
        <a:xfrm rot="16200000">
          <a:off x="767658" y="1598141"/>
          <a:ext cx="437815" cy="1181870"/>
        </a:xfrm>
        <a:prstGeom prst="round2Same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t>Aug. 2012</a:t>
          </a:r>
        </a:p>
      </dsp:txBody>
      <dsp:txXfrm rot="5400000">
        <a:off x="417003" y="1991540"/>
        <a:ext cx="1160498" cy="395071"/>
      </dsp:txXfrm>
    </dsp:sp>
    <dsp:sp modelId="{9D875279-7F85-451B-AA08-DCB5C149A1E7}">
      <dsp:nvSpPr>
        <dsp:cNvPr id="0" name=""/>
        <dsp:cNvSpPr/>
      </dsp:nvSpPr>
      <dsp:spPr>
        <a:xfrm>
          <a:off x="1674"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solidFill>
                <a:srgbClr val="001F60">
                  <a:hueOff val="0"/>
                  <a:satOff val="0"/>
                  <a:lumOff val="0"/>
                  <a:alphaOff val="0"/>
                </a:srgbClr>
              </a:solidFill>
              <a:latin typeface="Century Gothic"/>
              <a:ea typeface="+mn-ea"/>
              <a:cs typeface="+mn-cs"/>
            </a:rPr>
            <a:t>D. 61: Vehicle Labeling Regulations.</a:t>
          </a:r>
        </a:p>
      </dsp:txBody>
      <dsp:txXfrm>
        <a:off x="1674" y="0"/>
        <a:ext cx="1969783" cy="1532353"/>
      </dsp:txXfrm>
    </dsp:sp>
    <dsp:sp modelId="{4A3D8B02-1214-46CE-8A43-CE419735DC67}">
      <dsp:nvSpPr>
        <dsp:cNvPr id="0" name=""/>
        <dsp:cNvSpPr/>
      </dsp:nvSpPr>
      <dsp:spPr>
        <a:xfrm>
          <a:off x="986566" y="1619916"/>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2C15677D-C56F-46EC-92F5-8582B34D741B}">
      <dsp:nvSpPr>
        <dsp:cNvPr id="0" name=""/>
        <dsp:cNvSpPr/>
      </dsp:nvSpPr>
      <dsp:spPr>
        <a:xfrm>
          <a:off x="942784" y="1532353"/>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993503-35AA-4DE5-9382-1AE376E2B913}">
      <dsp:nvSpPr>
        <dsp:cNvPr id="0" name=""/>
        <dsp:cNvSpPr/>
      </dsp:nvSpPr>
      <dsp:spPr>
        <a:xfrm>
          <a:off x="1577501" y="1970169"/>
          <a:ext cx="1181870" cy="437815"/>
        </a:xfrm>
        <a:prstGeom prst="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Feb. 2013</a:t>
          </a:r>
        </a:p>
      </dsp:txBody>
      <dsp:txXfrm>
        <a:off x="1577501" y="1970169"/>
        <a:ext cx="1181870" cy="437815"/>
      </dsp:txXfrm>
    </dsp:sp>
    <dsp:sp modelId="{ACC77FD0-3BD4-4641-AF46-F6078067D98A}">
      <dsp:nvSpPr>
        <dsp:cNvPr id="0" name=""/>
        <dsp:cNvSpPr/>
      </dsp:nvSpPr>
      <dsp:spPr>
        <a:xfrm>
          <a:off x="1183544"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de-DE" sz="1300" kern="1200" dirty="0"/>
            <a:t>Vehicle EE </a:t>
          </a:r>
          <a:r>
            <a:rPr lang="de-DE" sz="1300" kern="1200" dirty="0" err="1"/>
            <a:t>label</a:t>
          </a:r>
          <a:r>
            <a:rPr lang="de-DE" sz="1300" kern="1200" dirty="0"/>
            <a:t> </a:t>
          </a:r>
          <a:r>
            <a:rPr lang="de-DE" sz="1300" kern="1200" dirty="0" err="1"/>
            <a:t>validity</a:t>
          </a:r>
          <a:r>
            <a:rPr lang="de-DE" sz="1300" kern="1200" dirty="0"/>
            <a:t>. Light </a:t>
          </a:r>
          <a:r>
            <a:rPr lang="de-DE" sz="1300" kern="1200" dirty="0" err="1"/>
            <a:t>vehicles</a:t>
          </a:r>
          <a:r>
            <a:rPr lang="de-DE" sz="1300" kern="1200" dirty="0"/>
            <a:t>.</a:t>
          </a:r>
          <a:endParaRPr lang="en-US" sz="1300" kern="1200" dirty="0"/>
        </a:p>
      </dsp:txBody>
      <dsp:txXfrm>
        <a:off x="1183544" y="2845800"/>
        <a:ext cx="1969783" cy="1532353"/>
      </dsp:txXfrm>
    </dsp:sp>
    <dsp:sp modelId="{E1B6C157-3DC8-4DC1-B2D6-0DA5F839CE5B}">
      <dsp:nvSpPr>
        <dsp:cNvPr id="0" name=""/>
        <dsp:cNvSpPr/>
      </dsp:nvSpPr>
      <dsp:spPr>
        <a:xfrm>
          <a:off x="2168436" y="2407984"/>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4D28EF5E-2DC7-483D-814A-922388E608E1}">
      <dsp:nvSpPr>
        <dsp:cNvPr id="0" name=""/>
        <dsp:cNvSpPr/>
      </dsp:nvSpPr>
      <dsp:spPr>
        <a:xfrm>
          <a:off x="2124654" y="2758237"/>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B304C7-80EC-40B9-92A7-EE53243978E3}">
      <dsp:nvSpPr>
        <dsp:cNvPr id="0" name=""/>
        <dsp:cNvSpPr/>
      </dsp:nvSpPr>
      <dsp:spPr>
        <a:xfrm>
          <a:off x="2759371" y="1970169"/>
          <a:ext cx="1181870" cy="437815"/>
        </a:xfrm>
        <a:prstGeom prst="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Jun. 2017</a:t>
          </a:r>
        </a:p>
      </dsp:txBody>
      <dsp:txXfrm>
        <a:off x="2759371" y="1970169"/>
        <a:ext cx="1181870" cy="437815"/>
      </dsp:txXfrm>
    </dsp:sp>
    <dsp:sp modelId="{37DBEC9D-597E-4952-82EA-61209C019F08}">
      <dsp:nvSpPr>
        <dsp:cNvPr id="0" name=""/>
        <dsp:cNvSpPr/>
      </dsp:nvSpPr>
      <dsp:spPr>
        <a:xfrm>
          <a:off x="2365414"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t>Validity of the EE Vehicle Label. Medium vehicles.</a:t>
          </a:r>
        </a:p>
      </dsp:txBody>
      <dsp:txXfrm>
        <a:off x="2365414" y="0"/>
        <a:ext cx="1969783" cy="1532353"/>
      </dsp:txXfrm>
    </dsp:sp>
    <dsp:sp modelId="{136FD358-C3D4-4C41-8E55-CF28497117C0}">
      <dsp:nvSpPr>
        <dsp:cNvPr id="0" name=""/>
        <dsp:cNvSpPr/>
      </dsp:nvSpPr>
      <dsp:spPr>
        <a:xfrm>
          <a:off x="3350306" y="1619916"/>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961F41ED-A44D-43E9-B176-1927CE1B7AAC}">
      <dsp:nvSpPr>
        <dsp:cNvPr id="0" name=""/>
        <dsp:cNvSpPr/>
      </dsp:nvSpPr>
      <dsp:spPr>
        <a:xfrm>
          <a:off x="3306525" y="1532353"/>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3BF293-EAD5-4DFC-8662-4CFDF4A0D5F3}">
      <dsp:nvSpPr>
        <dsp:cNvPr id="0" name=""/>
        <dsp:cNvSpPr/>
      </dsp:nvSpPr>
      <dsp:spPr>
        <a:xfrm>
          <a:off x="3941241" y="1970169"/>
          <a:ext cx="1181870" cy="437815"/>
        </a:xfrm>
        <a:prstGeom prst="rect">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Sept. 2018</a:t>
          </a:r>
        </a:p>
      </dsp:txBody>
      <dsp:txXfrm>
        <a:off x="3941241" y="1970169"/>
        <a:ext cx="1181870" cy="437815"/>
      </dsp:txXfrm>
    </dsp:sp>
    <dsp:sp modelId="{C852B168-8BB4-484E-8B45-E818EB563ACD}">
      <dsp:nvSpPr>
        <dsp:cNvPr id="0" name=""/>
        <dsp:cNvSpPr/>
      </dsp:nvSpPr>
      <dsp:spPr>
        <a:xfrm>
          <a:off x="3547285"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b="0" kern="1200" dirty="0"/>
            <a:t>Energy efficiency policy entering Congress</a:t>
          </a:r>
        </a:p>
      </dsp:txBody>
      <dsp:txXfrm>
        <a:off x="3547285" y="2845800"/>
        <a:ext cx="1969783" cy="1532353"/>
      </dsp:txXfrm>
    </dsp:sp>
    <dsp:sp modelId="{1EE77A18-3D62-421E-872D-1F0DC1BFCC4F}">
      <dsp:nvSpPr>
        <dsp:cNvPr id="0" name=""/>
        <dsp:cNvSpPr/>
      </dsp:nvSpPr>
      <dsp:spPr>
        <a:xfrm>
          <a:off x="4532177" y="2407984"/>
          <a:ext cx="0" cy="350252"/>
        </a:xfrm>
        <a:prstGeom prst="line">
          <a:avLst/>
        </a:prstGeom>
        <a:noFill/>
        <a:ln w="6350" cap="flat" cmpd="sng" algn="ctr">
          <a:solidFill>
            <a:srgbClr val="68B0AB"/>
          </a:solidFill>
          <a:prstDash val="dash"/>
          <a:miter lim="800000"/>
        </a:ln>
        <a:effectLst/>
      </dsp:spPr>
      <dsp:style>
        <a:lnRef idx="1">
          <a:scrgbClr r="0" g="0" b="0"/>
        </a:lnRef>
        <a:fillRef idx="0">
          <a:scrgbClr r="0" g="0" b="0"/>
        </a:fillRef>
        <a:effectRef idx="0">
          <a:scrgbClr r="0" g="0" b="0"/>
        </a:effectRef>
        <a:fontRef idx="minor"/>
      </dsp:style>
    </dsp:sp>
    <dsp:sp modelId="{D9DA2A49-8D17-4824-86BD-98B72C3CF269}">
      <dsp:nvSpPr>
        <dsp:cNvPr id="0" name=""/>
        <dsp:cNvSpPr/>
      </dsp:nvSpPr>
      <dsp:spPr>
        <a:xfrm>
          <a:off x="4488395" y="2758237"/>
          <a:ext cx="87563" cy="87563"/>
        </a:xfrm>
        <a:prstGeom prst="ellipse">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74D865-B074-4541-8434-6DAB84D74850}">
      <dsp:nvSpPr>
        <dsp:cNvPr id="0" name=""/>
        <dsp:cNvSpPr/>
      </dsp:nvSpPr>
      <dsp:spPr>
        <a:xfrm>
          <a:off x="5123112" y="1970169"/>
          <a:ext cx="1181870" cy="437815"/>
        </a:xfrm>
        <a:prstGeom prst="rect">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Feb. 2021</a:t>
          </a:r>
        </a:p>
      </dsp:txBody>
      <dsp:txXfrm>
        <a:off x="5123112" y="1970169"/>
        <a:ext cx="1181870" cy="437815"/>
      </dsp:txXfrm>
    </dsp:sp>
    <dsp:sp modelId="{B240B086-CBA3-4C72-84AC-C1AC4E24786A}">
      <dsp:nvSpPr>
        <dsp:cNvPr id="0" name=""/>
        <dsp:cNvSpPr/>
      </dsp:nvSpPr>
      <dsp:spPr>
        <a:xfrm>
          <a:off x="4729155"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1" kern="1200" dirty="0"/>
            <a:t>Publication of the Energy Efficiency Law.</a:t>
          </a:r>
        </a:p>
      </dsp:txBody>
      <dsp:txXfrm>
        <a:off x="4729155" y="0"/>
        <a:ext cx="1969783" cy="1532353"/>
      </dsp:txXfrm>
    </dsp:sp>
    <dsp:sp modelId="{40D6440E-8C75-4CE0-B68D-0D7D338B208A}">
      <dsp:nvSpPr>
        <dsp:cNvPr id="0" name=""/>
        <dsp:cNvSpPr/>
      </dsp:nvSpPr>
      <dsp:spPr>
        <a:xfrm>
          <a:off x="5714047" y="1619916"/>
          <a:ext cx="0" cy="350252"/>
        </a:xfrm>
        <a:prstGeom prst="line">
          <a:avLst/>
        </a:prstGeom>
        <a:noFill/>
        <a:ln w="6350" cap="flat" cmpd="sng" algn="ctr">
          <a:solidFill>
            <a:srgbClr val="68B0AB"/>
          </a:solidFill>
          <a:prstDash val="dash"/>
          <a:miter lim="800000"/>
        </a:ln>
        <a:effectLst/>
      </dsp:spPr>
      <dsp:style>
        <a:lnRef idx="1">
          <a:scrgbClr r="0" g="0" b="0"/>
        </a:lnRef>
        <a:fillRef idx="0">
          <a:scrgbClr r="0" g="0" b="0"/>
        </a:fillRef>
        <a:effectRef idx="0">
          <a:scrgbClr r="0" g="0" b="0"/>
        </a:effectRef>
        <a:fontRef idx="minor"/>
      </dsp:style>
    </dsp:sp>
    <dsp:sp modelId="{B902014F-A5AF-4EB9-B0BA-2DB93905E7B6}">
      <dsp:nvSpPr>
        <dsp:cNvPr id="0" name=""/>
        <dsp:cNvSpPr/>
      </dsp:nvSpPr>
      <dsp:spPr>
        <a:xfrm>
          <a:off x="5670265" y="1532353"/>
          <a:ext cx="87563" cy="87563"/>
        </a:xfrm>
        <a:prstGeom prst="ellipse">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EE2088-9C66-48A1-BA1E-3D701A3ECC0B}">
      <dsp:nvSpPr>
        <dsp:cNvPr id="0" name=""/>
        <dsp:cNvSpPr/>
      </dsp:nvSpPr>
      <dsp:spPr>
        <a:xfrm>
          <a:off x="6304982"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Poppins"/>
            </a:rPr>
            <a:t>Feb. 2022</a:t>
          </a:r>
        </a:p>
      </dsp:txBody>
      <dsp:txXfrm>
        <a:off x="6304982" y="1970169"/>
        <a:ext cx="1181870" cy="437815"/>
      </dsp:txXfrm>
    </dsp:sp>
    <dsp:sp modelId="{B660B7E2-A753-4C49-8170-860DE8831991}">
      <dsp:nvSpPr>
        <dsp:cNvPr id="0" name=""/>
        <dsp:cNvSpPr/>
      </dsp:nvSpPr>
      <dsp:spPr>
        <a:xfrm>
          <a:off x="5911025"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rtl="0">
            <a:lnSpc>
              <a:spcPct val="90000"/>
            </a:lnSpc>
            <a:spcBef>
              <a:spcPct val="0"/>
            </a:spcBef>
            <a:spcAft>
              <a:spcPct val="35000"/>
            </a:spcAft>
            <a:buNone/>
          </a:pPr>
          <a:r>
            <a:rPr lang="en-US" sz="1300" kern="1200" dirty="0"/>
            <a:t>Publication of Resolution N°5 that sets standards for light vehicles.</a:t>
          </a:r>
          <a:endParaRPr lang="en-US" sz="1300" b="0" kern="1200" dirty="0">
            <a:latin typeface="Poppins"/>
          </a:endParaRPr>
        </a:p>
      </dsp:txBody>
      <dsp:txXfrm>
        <a:off x="5911025" y="2845800"/>
        <a:ext cx="1969783" cy="1532353"/>
      </dsp:txXfrm>
    </dsp:sp>
    <dsp:sp modelId="{85CECBD0-93CC-42AE-8F6F-ECC2ED561C5A}">
      <dsp:nvSpPr>
        <dsp:cNvPr id="0" name=""/>
        <dsp:cNvSpPr/>
      </dsp:nvSpPr>
      <dsp:spPr>
        <a:xfrm>
          <a:off x="6895917" y="2407984"/>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2785E163-1756-42E5-8694-20F106FC4464}">
      <dsp:nvSpPr>
        <dsp:cNvPr id="0" name=""/>
        <dsp:cNvSpPr/>
      </dsp:nvSpPr>
      <dsp:spPr>
        <a:xfrm>
          <a:off x="6852136" y="2758237"/>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9DDCB8-A7CE-4ABC-A765-5150F894F2C7}">
      <dsp:nvSpPr>
        <dsp:cNvPr id="0" name=""/>
        <dsp:cNvSpPr/>
      </dsp:nvSpPr>
      <dsp:spPr>
        <a:xfrm>
          <a:off x="7486853"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1" kern="1200"/>
            <a:t>2024</a:t>
          </a:r>
        </a:p>
      </dsp:txBody>
      <dsp:txXfrm>
        <a:off x="7486853" y="1970169"/>
        <a:ext cx="1181870" cy="437815"/>
      </dsp:txXfrm>
    </dsp:sp>
    <dsp:sp modelId="{52ED8438-FA17-459A-A442-A91BA1199954}">
      <dsp:nvSpPr>
        <dsp:cNvPr id="0" name=""/>
        <dsp:cNvSpPr/>
      </dsp:nvSpPr>
      <dsp:spPr>
        <a:xfrm>
          <a:off x="7092896"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0" kern="1200" dirty="0"/>
            <a:t>February: light vehicles entry into force.
April: Publication of Resolution No. 14 that sets the standard for medium-sized vehicles</a:t>
          </a:r>
        </a:p>
      </dsp:txBody>
      <dsp:txXfrm>
        <a:off x="7092896" y="0"/>
        <a:ext cx="1969783" cy="1532353"/>
      </dsp:txXfrm>
    </dsp:sp>
    <dsp:sp modelId="{A46217C5-00DB-444E-B512-719594E522DA}">
      <dsp:nvSpPr>
        <dsp:cNvPr id="0" name=""/>
        <dsp:cNvSpPr/>
      </dsp:nvSpPr>
      <dsp:spPr>
        <a:xfrm>
          <a:off x="8077788" y="1619916"/>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44CFEE9C-A5F8-4D60-828D-5EE23D37A2AF}">
      <dsp:nvSpPr>
        <dsp:cNvPr id="0" name=""/>
        <dsp:cNvSpPr/>
      </dsp:nvSpPr>
      <dsp:spPr>
        <a:xfrm>
          <a:off x="8034006" y="1532353"/>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3B96C1-17D5-429D-B75D-F558A960CE0C}">
      <dsp:nvSpPr>
        <dsp:cNvPr id="0" name=""/>
        <dsp:cNvSpPr/>
      </dsp:nvSpPr>
      <dsp:spPr>
        <a:xfrm>
          <a:off x="8668723"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2026</a:t>
          </a:r>
        </a:p>
      </dsp:txBody>
      <dsp:txXfrm>
        <a:off x="8668723" y="1970169"/>
        <a:ext cx="1181870" cy="437815"/>
      </dsp:txXfrm>
    </dsp:sp>
    <dsp:sp modelId="{DE7E5952-8F38-4C15-BBC0-A95779E9EF38}">
      <dsp:nvSpPr>
        <dsp:cNvPr id="0" name=""/>
        <dsp:cNvSpPr/>
      </dsp:nvSpPr>
      <dsp:spPr>
        <a:xfrm>
          <a:off x="8330491"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dirty="0"/>
            <a:t>Feb: standard publication v. heavy.
April: entry into force v. medium.</a:t>
          </a:r>
        </a:p>
      </dsp:txBody>
      <dsp:txXfrm>
        <a:off x="8330491" y="2845800"/>
        <a:ext cx="1969783" cy="1532353"/>
      </dsp:txXfrm>
    </dsp:sp>
    <dsp:sp modelId="{B40660E7-480B-4517-8336-4F32C2822BE3}">
      <dsp:nvSpPr>
        <dsp:cNvPr id="0" name=""/>
        <dsp:cNvSpPr/>
      </dsp:nvSpPr>
      <dsp:spPr>
        <a:xfrm>
          <a:off x="9259658" y="2407984"/>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12D427F4-99AD-4AF6-848D-32B3B6C1983E}">
      <dsp:nvSpPr>
        <dsp:cNvPr id="0" name=""/>
        <dsp:cNvSpPr/>
      </dsp:nvSpPr>
      <dsp:spPr>
        <a:xfrm>
          <a:off x="9215877" y="2758237"/>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E58C29-08CA-4BD6-8750-F9DF2B5218E3}">
      <dsp:nvSpPr>
        <dsp:cNvPr id="0" name=""/>
        <dsp:cNvSpPr/>
      </dsp:nvSpPr>
      <dsp:spPr>
        <a:xfrm rot="5400000">
          <a:off x="10222621" y="1598141"/>
          <a:ext cx="437815" cy="1181870"/>
        </a:xfrm>
        <a:prstGeom prst="round2Same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2028</a:t>
          </a:r>
        </a:p>
      </dsp:txBody>
      <dsp:txXfrm rot="-5400000">
        <a:off x="9850594" y="1991540"/>
        <a:ext cx="1160498" cy="395071"/>
      </dsp:txXfrm>
    </dsp:sp>
    <dsp:sp modelId="{12B3EE98-8EA9-477D-94FC-AC58F05F5524}">
      <dsp:nvSpPr>
        <dsp:cNvPr id="0" name=""/>
        <dsp:cNvSpPr/>
      </dsp:nvSpPr>
      <dsp:spPr>
        <a:xfrm>
          <a:off x="9456637"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0" kern="1200" dirty="0"/>
            <a:t>Deadline for entry into force of the heavy vehicle standard</a:t>
          </a:r>
        </a:p>
      </dsp:txBody>
      <dsp:txXfrm>
        <a:off x="9456637" y="0"/>
        <a:ext cx="1969783" cy="1532353"/>
      </dsp:txXfrm>
    </dsp:sp>
    <dsp:sp modelId="{89CC0DF3-1F74-4B31-A04D-4075AB915F19}">
      <dsp:nvSpPr>
        <dsp:cNvPr id="0" name=""/>
        <dsp:cNvSpPr/>
      </dsp:nvSpPr>
      <dsp:spPr>
        <a:xfrm>
          <a:off x="10441528" y="1619916"/>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84C9B3F7-DF05-4119-B805-6C432BEE03A2}">
      <dsp:nvSpPr>
        <dsp:cNvPr id="0" name=""/>
        <dsp:cNvSpPr/>
      </dsp:nvSpPr>
      <dsp:spPr>
        <a:xfrm>
          <a:off x="10397747" y="1532353"/>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FBAA9D-3C98-4312-ABD5-AAC590CA1F4B}">
      <dsp:nvSpPr>
        <dsp:cNvPr id="0" name=""/>
        <dsp:cNvSpPr/>
      </dsp:nvSpPr>
      <dsp:spPr>
        <a:xfrm rot="16200000">
          <a:off x="767658" y="1598141"/>
          <a:ext cx="437815" cy="1181870"/>
        </a:xfrm>
        <a:prstGeom prst="round2Same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t>Aug. 2012</a:t>
          </a:r>
        </a:p>
      </dsp:txBody>
      <dsp:txXfrm rot="5400000">
        <a:off x="417003" y="1991540"/>
        <a:ext cx="1160498" cy="395071"/>
      </dsp:txXfrm>
    </dsp:sp>
    <dsp:sp modelId="{9D875279-7F85-451B-AA08-DCB5C149A1E7}">
      <dsp:nvSpPr>
        <dsp:cNvPr id="0" name=""/>
        <dsp:cNvSpPr/>
      </dsp:nvSpPr>
      <dsp:spPr>
        <a:xfrm>
          <a:off x="1674"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solidFill>
                <a:srgbClr val="001F60">
                  <a:hueOff val="0"/>
                  <a:satOff val="0"/>
                  <a:lumOff val="0"/>
                  <a:alphaOff val="0"/>
                </a:srgbClr>
              </a:solidFill>
              <a:latin typeface="Century Gothic"/>
              <a:ea typeface="+mn-ea"/>
              <a:cs typeface="+mn-cs"/>
            </a:rPr>
            <a:t>D. 61: Vehicle Labeling Regulations.</a:t>
          </a:r>
        </a:p>
      </dsp:txBody>
      <dsp:txXfrm>
        <a:off x="1674" y="0"/>
        <a:ext cx="1969783" cy="1532353"/>
      </dsp:txXfrm>
    </dsp:sp>
    <dsp:sp modelId="{4A3D8B02-1214-46CE-8A43-CE419735DC67}">
      <dsp:nvSpPr>
        <dsp:cNvPr id="0" name=""/>
        <dsp:cNvSpPr/>
      </dsp:nvSpPr>
      <dsp:spPr>
        <a:xfrm>
          <a:off x="986566" y="1619916"/>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2C15677D-C56F-46EC-92F5-8582B34D741B}">
      <dsp:nvSpPr>
        <dsp:cNvPr id="0" name=""/>
        <dsp:cNvSpPr/>
      </dsp:nvSpPr>
      <dsp:spPr>
        <a:xfrm>
          <a:off x="942784" y="1532353"/>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993503-35AA-4DE5-9382-1AE376E2B913}">
      <dsp:nvSpPr>
        <dsp:cNvPr id="0" name=""/>
        <dsp:cNvSpPr/>
      </dsp:nvSpPr>
      <dsp:spPr>
        <a:xfrm>
          <a:off x="1577501" y="1970169"/>
          <a:ext cx="1181870" cy="437815"/>
        </a:xfrm>
        <a:prstGeom prst="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Feb. 2013</a:t>
          </a:r>
        </a:p>
      </dsp:txBody>
      <dsp:txXfrm>
        <a:off x="1577501" y="1970169"/>
        <a:ext cx="1181870" cy="437815"/>
      </dsp:txXfrm>
    </dsp:sp>
    <dsp:sp modelId="{ACC77FD0-3BD4-4641-AF46-F6078067D98A}">
      <dsp:nvSpPr>
        <dsp:cNvPr id="0" name=""/>
        <dsp:cNvSpPr/>
      </dsp:nvSpPr>
      <dsp:spPr>
        <a:xfrm>
          <a:off x="1183544"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de-DE" sz="1300" kern="1200" dirty="0"/>
            <a:t>Vehicle EE </a:t>
          </a:r>
          <a:r>
            <a:rPr lang="de-DE" sz="1300" kern="1200" dirty="0" err="1"/>
            <a:t>label</a:t>
          </a:r>
          <a:r>
            <a:rPr lang="de-DE" sz="1300" kern="1200" dirty="0"/>
            <a:t> </a:t>
          </a:r>
          <a:r>
            <a:rPr lang="de-DE" sz="1300" kern="1200" dirty="0" err="1"/>
            <a:t>validity</a:t>
          </a:r>
          <a:r>
            <a:rPr lang="de-DE" sz="1300" kern="1200" dirty="0"/>
            <a:t>. Light </a:t>
          </a:r>
          <a:r>
            <a:rPr lang="de-DE" sz="1300" kern="1200" dirty="0" err="1"/>
            <a:t>vehicles</a:t>
          </a:r>
          <a:r>
            <a:rPr lang="de-DE" sz="1300" kern="1200" dirty="0"/>
            <a:t>.</a:t>
          </a:r>
          <a:endParaRPr lang="en-US" sz="1300" kern="1200" dirty="0"/>
        </a:p>
      </dsp:txBody>
      <dsp:txXfrm>
        <a:off x="1183544" y="2845800"/>
        <a:ext cx="1969783" cy="1532353"/>
      </dsp:txXfrm>
    </dsp:sp>
    <dsp:sp modelId="{E1B6C157-3DC8-4DC1-B2D6-0DA5F839CE5B}">
      <dsp:nvSpPr>
        <dsp:cNvPr id="0" name=""/>
        <dsp:cNvSpPr/>
      </dsp:nvSpPr>
      <dsp:spPr>
        <a:xfrm>
          <a:off x="2168436" y="2407984"/>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4D28EF5E-2DC7-483D-814A-922388E608E1}">
      <dsp:nvSpPr>
        <dsp:cNvPr id="0" name=""/>
        <dsp:cNvSpPr/>
      </dsp:nvSpPr>
      <dsp:spPr>
        <a:xfrm>
          <a:off x="2124654" y="2758237"/>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B304C7-80EC-40B9-92A7-EE53243978E3}">
      <dsp:nvSpPr>
        <dsp:cNvPr id="0" name=""/>
        <dsp:cNvSpPr/>
      </dsp:nvSpPr>
      <dsp:spPr>
        <a:xfrm>
          <a:off x="2759371" y="1970169"/>
          <a:ext cx="1181870" cy="437815"/>
        </a:xfrm>
        <a:prstGeom prst="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Jun. 2017</a:t>
          </a:r>
        </a:p>
      </dsp:txBody>
      <dsp:txXfrm>
        <a:off x="2759371" y="1970169"/>
        <a:ext cx="1181870" cy="437815"/>
      </dsp:txXfrm>
    </dsp:sp>
    <dsp:sp modelId="{37DBEC9D-597E-4952-82EA-61209C019F08}">
      <dsp:nvSpPr>
        <dsp:cNvPr id="0" name=""/>
        <dsp:cNvSpPr/>
      </dsp:nvSpPr>
      <dsp:spPr>
        <a:xfrm>
          <a:off x="2365414"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t>Validity of the EE Vehicle Label. Medium vehicles.</a:t>
          </a:r>
        </a:p>
      </dsp:txBody>
      <dsp:txXfrm>
        <a:off x="2365414" y="0"/>
        <a:ext cx="1969783" cy="1532353"/>
      </dsp:txXfrm>
    </dsp:sp>
    <dsp:sp modelId="{136FD358-C3D4-4C41-8E55-CF28497117C0}">
      <dsp:nvSpPr>
        <dsp:cNvPr id="0" name=""/>
        <dsp:cNvSpPr/>
      </dsp:nvSpPr>
      <dsp:spPr>
        <a:xfrm>
          <a:off x="3350306" y="1619916"/>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961F41ED-A44D-43E9-B176-1927CE1B7AAC}">
      <dsp:nvSpPr>
        <dsp:cNvPr id="0" name=""/>
        <dsp:cNvSpPr/>
      </dsp:nvSpPr>
      <dsp:spPr>
        <a:xfrm>
          <a:off x="3306525" y="1532353"/>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3BF293-EAD5-4DFC-8662-4CFDF4A0D5F3}">
      <dsp:nvSpPr>
        <dsp:cNvPr id="0" name=""/>
        <dsp:cNvSpPr/>
      </dsp:nvSpPr>
      <dsp:spPr>
        <a:xfrm>
          <a:off x="3941241" y="1970169"/>
          <a:ext cx="1181870" cy="437815"/>
        </a:xfrm>
        <a:prstGeom prst="rect">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Sept. 2018</a:t>
          </a:r>
        </a:p>
      </dsp:txBody>
      <dsp:txXfrm>
        <a:off x="3941241" y="1970169"/>
        <a:ext cx="1181870" cy="437815"/>
      </dsp:txXfrm>
    </dsp:sp>
    <dsp:sp modelId="{C852B168-8BB4-484E-8B45-E818EB563ACD}">
      <dsp:nvSpPr>
        <dsp:cNvPr id="0" name=""/>
        <dsp:cNvSpPr/>
      </dsp:nvSpPr>
      <dsp:spPr>
        <a:xfrm>
          <a:off x="3547285"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b="0" kern="1200" dirty="0"/>
            <a:t>Energy efficiency policy entering Congress</a:t>
          </a:r>
        </a:p>
      </dsp:txBody>
      <dsp:txXfrm>
        <a:off x="3547285" y="2845800"/>
        <a:ext cx="1969783" cy="1532353"/>
      </dsp:txXfrm>
    </dsp:sp>
    <dsp:sp modelId="{1EE77A18-3D62-421E-872D-1F0DC1BFCC4F}">
      <dsp:nvSpPr>
        <dsp:cNvPr id="0" name=""/>
        <dsp:cNvSpPr/>
      </dsp:nvSpPr>
      <dsp:spPr>
        <a:xfrm>
          <a:off x="4532177" y="2407984"/>
          <a:ext cx="0" cy="350252"/>
        </a:xfrm>
        <a:prstGeom prst="line">
          <a:avLst/>
        </a:prstGeom>
        <a:noFill/>
        <a:ln w="6350" cap="flat" cmpd="sng" algn="ctr">
          <a:solidFill>
            <a:srgbClr val="68B0AB"/>
          </a:solidFill>
          <a:prstDash val="dash"/>
          <a:miter lim="800000"/>
        </a:ln>
        <a:effectLst/>
      </dsp:spPr>
      <dsp:style>
        <a:lnRef idx="1">
          <a:scrgbClr r="0" g="0" b="0"/>
        </a:lnRef>
        <a:fillRef idx="0">
          <a:scrgbClr r="0" g="0" b="0"/>
        </a:fillRef>
        <a:effectRef idx="0">
          <a:scrgbClr r="0" g="0" b="0"/>
        </a:effectRef>
        <a:fontRef idx="minor"/>
      </dsp:style>
    </dsp:sp>
    <dsp:sp modelId="{D9DA2A49-8D17-4824-86BD-98B72C3CF269}">
      <dsp:nvSpPr>
        <dsp:cNvPr id="0" name=""/>
        <dsp:cNvSpPr/>
      </dsp:nvSpPr>
      <dsp:spPr>
        <a:xfrm>
          <a:off x="4488395" y="2758237"/>
          <a:ext cx="87563" cy="87563"/>
        </a:xfrm>
        <a:prstGeom prst="ellipse">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74D865-B074-4541-8434-6DAB84D74850}">
      <dsp:nvSpPr>
        <dsp:cNvPr id="0" name=""/>
        <dsp:cNvSpPr/>
      </dsp:nvSpPr>
      <dsp:spPr>
        <a:xfrm>
          <a:off x="5123112" y="1970169"/>
          <a:ext cx="1181870" cy="437815"/>
        </a:xfrm>
        <a:prstGeom prst="rect">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Feb. 2021</a:t>
          </a:r>
        </a:p>
      </dsp:txBody>
      <dsp:txXfrm>
        <a:off x="5123112" y="1970169"/>
        <a:ext cx="1181870" cy="437815"/>
      </dsp:txXfrm>
    </dsp:sp>
    <dsp:sp modelId="{B240B086-CBA3-4C72-84AC-C1AC4E24786A}">
      <dsp:nvSpPr>
        <dsp:cNvPr id="0" name=""/>
        <dsp:cNvSpPr/>
      </dsp:nvSpPr>
      <dsp:spPr>
        <a:xfrm>
          <a:off x="4729155"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1" kern="1200" dirty="0"/>
            <a:t>Publication of the Energy Efficiency Law.</a:t>
          </a:r>
        </a:p>
      </dsp:txBody>
      <dsp:txXfrm>
        <a:off x="4729155" y="0"/>
        <a:ext cx="1969783" cy="1532353"/>
      </dsp:txXfrm>
    </dsp:sp>
    <dsp:sp modelId="{40D6440E-8C75-4CE0-B68D-0D7D338B208A}">
      <dsp:nvSpPr>
        <dsp:cNvPr id="0" name=""/>
        <dsp:cNvSpPr/>
      </dsp:nvSpPr>
      <dsp:spPr>
        <a:xfrm>
          <a:off x="5714047" y="1619916"/>
          <a:ext cx="0" cy="350252"/>
        </a:xfrm>
        <a:prstGeom prst="line">
          <a:avLst/>
        </a:prstGeom>
        <a:noFill/>
        <a:ln w="6350" cap="flat" cmpd="sng" algn="ctr">
          <a:solidFill>
            <a:srgbClr val="68B0AB"/>
          </a:solidFill>
          <a:prstDash val="dash"/>
          <a:miter lim="800000"/>
        </a:ln>
        <a:effectLst/>
      </dsp:spPr>
      <dsp:style>
        <a:lnRef idx="1">
          <a:scrgbClr r="0" g="0" b="0"/>
        </a:lnRef>
        <a:fillRef idx="0">
          <a:scrgbClr r="0" g="0" b="0"/>
        </a:fillRef>
        <a:effectRef idx="0">
          <a:scrgbClr r="0" g="0" b="0"/>
        </a:effectRef>
        <a:fontRef idx="minor"/>
      </dsp:style>
    </dsp:sp>
    <dsp:sp modelId="{B902014F-A5AF-4EB9-B0BA-2DB93905E7B6}">
      <dsp:nvSpPr>
        <dsp:cNvPr id="0" name=""/>
        <dsp:cNvSpPr/>
      </dsp:nvSpPr>
      <dsp:spPr>
        <a:xfrm>
          <a:off x="5670265" y="1532353"/>
          <a:ext cx="87563" cy="87563"/>
        </a:xfrm>
        <a:prstGeom prst="ellipse">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EE2088-9C66-48A1-BA1E-3D701A3ECC0B}">
      <dsp:nvSpPr>
        <dsp:cNvPr id="0" name=""/>
        <dsp:cNvSpPr/>
      </dsp:nvSpPr>
      <dsp:spPr>
        <a:xfrm>
          <a:off x="6304982"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Poppins"/>
            </a:rPr>
            <a:t>Feb. 2022</a:t>
          </a:r>
        </a:p>
      </dsp:txBody>
      <dsp:txXfrm>
        <a:off x="6304982" y="1970169"/>
        <a:ext cx="1181870" cy="437815"/>
      </dsp:txXfrm>
    </dsp:sp>
    <dsp:sp modelId="{B660B7E2-A753-4C49-8170-860DE8831991}">
      <dsp:nvSpPr>
        <dsp:cNvPr id="0" name=""/>
        <dsp:cNvSpPr/>
      </dsp:nvSpPr>
      <dsp:spPr>
        <a:xfrm>
          <a:off x="5911025"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rtl="0">
            <a:lnSpc>
              <a:spcPct val="90000"/>
            </a:lnSpc>
            <a:spcBef>
              <a:spcPct val="0"/>
            </a:spcBef>
            <a:spcAft>
              <a:spcPct val="35000"/>
            </a:spcAft>
            <a:buNone/>
          </a:pPr>
          <a:r>
            <a:rPr lang="en-US" sz="1300" kern="1200" dirty="0"/>
            <a:t>Publication of Resolution N°5 that sets standards for light vehicles.</a:t>
          </a:r>
          <a:endParaRPr lang="en-US" sz="1300" b="0" kern="1200" dirty="0">
            <a:latin typeface="Poppins"/>
          </a:endParaRPr>
        </a:p>
      </dsp:txBody>
      <dsp:txXfrm>
        <a:off x="5911025" y="2845800"/>
        <a:ext cx="1969783" cy="1532353"/>
      </dsp:txXfrm>
    </dsp:sp>
    <dsp:sp modelId="{85CECBD0-93CC-42AE-8F6F-ECC2ED561C5A}">
      <dsp:nvSpPr>
        <dsp:cNvPr id="0" name=""/>
        <dsp:cNvSpPr/>
      </dsp:nvSpPr>
      <dsp:spPr>
        <a:xfrm>
          <a:off x="6895917" y="2407984"/>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2785E163-1756-42E5-8694-20F106FC4464}">
      <dsp:nvSpPr>
        <dsp:cNvPr id="0" name=""/>
        <dsp:cNvSpPr/>
      </dsp:nvSpPr>
      <dsp:spPr>
        <a:xfrm>
          <a:off x="6852136" y="2758237"/>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9DDCB8-A7CE-4ABC-A765-5150F894F2C7}">
      <dsp:nvSpPr>
        <dsp:cNvPr id="0" name=""/>
        <dsp:cNvSpPr/>
      </dsp:nvSpPr>
      <dsp:spPr>
        <a:xfrm>
          <a:off x="7486853"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1" kern="1200"/>
            <a:t>2024</a:t>
          </a:r>
        </a:p>
      </dsp:txBody>
      <dsp:txXfrm>
        <a:off x="7486853" y="1970169"/>
        <a:ext cx="1181870" cy="437815"/>
      </dsp:txXfrm>
    </dsp:sp>
    <dsp:sp modelId="{52ED8438-FA17-459A-A442-A91BA1199954}">
      <dsp:nvSpPr>
        <dsp:cNvPr id="0" name=""/>
        <dsp:cNvSpPr/>
      </dsp:nvSpPr>
      <dsp:spPr>
        <a:xfrm>
          <a:off x="7092896"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0" kern="1200" dirty="0"/>
            <a:t>February: light vehicles entry into force.
April: Publication of Resolution No. 14 that sets the standard for medium-sized vehicles</a:t>
          </a:r>
        </a:p>
      </dsp:txBody>
      <dsp:txXfrm>
        <a:off x="7092896" y="0"/>
        <a:ext cx="1969783" cy="1532353"/>
      </dsp:txXfrm>
    </dsp:sp>
    <dsp:sp modelId="{A46217C5-00DB-444E-B512-719594E522DA}">
      <dsp:nvSpPr>
        <dsp:cNvPr id="0" name=""/>
        <dsp:cNvSpPr/>
      </dsp:nvSpPr>
      <dsp:spPr>
        <a:xfrm>
          <a:off x="8077788" y="1619916"/>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44CFEE9C-A5F8-4D60-828D-5EE23D37A2AF}">
      <dsp:nvSpPr>
        <dsp:cNvPr id="0" name=""/>
        <dsp:cNvSpPr/>
      </dsp:nvSpPr>
      <dsp:spPr>
        <a:xfrm>
          <a:off x="8034006" y="1532353"/>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3B96C1-17D5-429D-B75D-F558A960CE0C}">
      <dsp:nvSpPr>
        <dsp:cNvPr id="0" name=""/>
        <dsp:cNvSpPr/>
      </dsp:nvSpPr>
      <dsp:spPr>
        <a:xfrm>
          <a:off x="8668723"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2026</a:t>
          </a:r>
        </a:p>
      </dsp:txBody>
      <dsp:txXfrm>
        <a:off x="8668723" y="1970169"/>
        <a:ext cx="1181870" cy="437815"/>
      </dsp:txXfrm>
    </dsp:sp>
    <dsp:sp modelId="{DE7E5952-8F38-4C15-BBC0-A95779E9EF38}">
      <dsp:nvSpPr>
        <dsp:cNvPr id="0" name=""/>
        <dsp:cNvSpPr/>
      </dsp:nvSpPr>
      <dsp:spPr>
        <a:xfrm>
          <a:off x="8330491"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dirty="0"/>
            <a:t>Feb: standard publication v. heavy.
April: entry into force v. medium.</a:t>
          </a:r>
        </a:p>
      </dsp:txBody>
      <dsp:txXfrm>
        <a:off x="8330491" y="2845800"/>
        <a:ext cx="1969783" cy="1532353"/>
      </dsp:txXfrm>
    </dsp:sp>
    <dsp:sp modelId="{B40660E7-480B-4517-8336-4F32C2822BE3}">
      <dsp:nvSpPr>
        <dsp:cNvPr id="0" name=""/>
        <dsp:cNvSpPr/>
      </dsp:nvSpPr>
      <dsp:spPr>
        <a:xfrm>
          <a:off x="9259658" y="2407984"/>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12D427F4-99AD-4AF6-848D-32B3B6C1983E}">
      <dsp:nvSpPr>
        <dsp:cNvPr id="0" name=""/>
        <dsp:cNvSpPr/>
      </dsp:nvSpPr>
      <dsp:spPr>
        <a:xfrm>
          <a:off x="9215877" y="2758237"/>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E58C29-08CA-4BD6-8750-F9DF2B5218E3}">
      <dsp:nvSpPr>
        <dsp:cNvPr id="0" name=""/>
        <dsp:cNvSpPr/>
      </dsp:nvSpPr>
      <dsp:spPr>
        <a:xfrm rot="5400000">
          <a:off x="10222621" y="1598141"/>
          <a:ext cx="437815" cy="1181870"/>
        </a:xfrm>
        <a:prstGeom prst="round2Same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2028</a:t>
          </a:r>
        </a:p>
      </dsp:txBody>
      <dsp:txXfrm rot="-5400000">
        <a:off x="9850594" y="1991540"/>
        <a:ext cx="1160498" cy="395071"/>
      </dsp:txXfrm>
    </dsp:sp>
    <dsp:sp modelId="{12B3EE98-8EA9-477D-94FC-AC58F05F5524}">
      <dsp:nvSpPr>
        <dsp:cNvPr id="0" name=""/>
        <dsp:cNvSpPr/>
      </dsp:nvSpPr>
      <dsp:spPr>
        <a:xfrm>
          <a:off x="9456637"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0" kern="1200" dirty="0"/>
            <a:t>Deadline for entry into force of the heavy vehicle standard</a:t>
          </a:r>
        </a:p>
      </dsp:txBody>
      <dsp:txXfrm>
        <a:off x="9456637" y="0"/>
        <a:ext cx="1969783" cy="1532353"/>
      </dsp:txXfrm>
    </dsp:sp>
    <dsp:sp modelId="{89CC0DF3-1F74-4B31-A04D-4075AB915F19}">
      <dsp:nvSpPr>
        <dsp:cNvPr id="0" name=""/>
        <dsp:cNvSpPr/>
      </dsp:nvSpPr>
      <dsp:spPr>
        <a:xfrm>
          <a:off x="10441528" y="1619916"/>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84C9B3F7-DF05-4119-B805-6C432BEE03A2}">
      <dsp:nvSpPr>
        <dsp:cNvPr id="0" name=""/>
        <dsp:cNvSpPr/>
      </dsp:nvSpPr>
      <dsp:spPr>
        <a:xfrm>
          <a:off x="10397747" y="1532353"/>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BC10CF-09EA-4461-9187-8D5FEC23C76D}">
      <dsp:nvSpPr>
        <dsp:cNvPr id="0" name=""/>
        <dsp:cNvSpPr/>
      </dsp:nvSpPr>
      <dsp:spPr>
        <a:xfrm>
          <a:off x="0" y="711495"/>
          <a:ext cx="5486046" cy="52767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de-DE" sz="2200" kern="1200" dirty="0" err="1"/>
            <a:t>Testing</a:t>
          </a:r>
          <a:r>
            <a:rPr lang="de-DE" sz="2200" kern="1200" dirty="0"/>
            <a:t> Infrastructure Evaluation: 3CV</a:t>
          </a:r>
          <a:endParaRPr lang="es-CL" sz="2200" kern="1200" dirty="0"/>
        </a:p>
      </dsp:txBody>
      <dsp:txXfrm>
        <a:off x="25759" y="737254"/>
        <a:ext cx="5434528" cy="476152"/>
      </dsp:txXfrm>
    </dsp:sp>
    <dsp:sp modelId="{BC6A78FD-EE2C-40DE-8974-6B20D7A8C789}">
      <dsp:nvSpPr>
        <dsp:cNvPr id="0" name=""/>
        <dsp:cNvSpPr/>
      </dsp:nvSpPr>
      <dsp:spPr>
        <a:xfrm>
          <a:off x="0" y="1302525"/>
          <a:ext cx="5486046" cy="52767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de-DE" sz="2200" kern="1200" dirty="0"/>
            <a:t>Test </a:t>
          </a:r>
          <a:r>
            <a:rPr lang="de-DE" sz="2200" kern="1200" dirty="0" err="1"/>
            <a:t>methods</a:t>
          </a:r>
          <a:r>
            <a:rPr lang="de-DE" sz="2200" kern="1200" dirty="0"/>
            <a:t>: international</a:t>
          </a:r>
          <a:endParaRPr lang="es-CL" sz="2200" kern="1200" dirty="0"/>
        </a:p>
      </dsp:txBody>
      <dsp:txXfrm>
        <a:off x="25759" y="1328284"/>
        <a:ext cx="5434528" cy="476152"/>
      </dsp:txXfrm>
    </dsp:sp>
    <dsp:sp modelId="{7B9E6B4B-5653-4461-8CEA-B00B7D291C82}">
      <dsp:nvSpPr>
        <dsp:cNvPr id="0" name=""/>
        <dsp:cNvSpPr/>
      </dsp:nvSpPr>
      <dsp:spPr>
        <a:xfrm>
          <a:off x="0" y="1893556"/>
          <a:ext cx="5486046" cy="52767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de-DE" sz="2200" b="1" kern="1200" dirty="0"/>
            <a:t>Background </a:t>
          </a:r>
          <a:r>
            <a:rPr lang="de-DE" sz="2200" b="1" kern="1200" dirty="0" err="1"/>
            <a:t>information</a:t>
          </a:r>
          <a:r>
            <a:rPr lang="de-DE" sz="2200" b="1" kern="1200" dirty="0"/>
            <a:t> / DATA</a:t>
          </a:r>
          <a:endParaRPr lang="es-CL" sz="2200" b="1" kern="1200" dirty="0"/>
        </a:p>
      </dsp:txBody>
      <dsp:txXfrm>
        <a:off x="25759" y="1919315"/>
        <a:ext cx="5434528" cy="476152"/>
      </dsp:txXfrm>
    </dsp:sp>
    <dsp:sp modelId="{C20030A5-D76A-4952-9DB9-E55747874549}">
      <dsp:nvSpPr>
        <dsp:cNvPr id="0" name=""/>
        <dsp:cNvSpPr/>
      </dsp:nvSpPr>
      <dsp:spPr>
        <a:xfrm>
          <a:off x="0" y="2484586"/>
          <a:ext cx="5486046" cy="52767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de-DE" sz="2200" b="0" kern="1200" dirty="0" err="1"/>
            <a:t>Regulatory</a:t>
          </a:r>
          <a:r>
            <a:rPr lang="de-DE" sz="2200" b="0" kern="1200" dirty="0"/>
            <a:t> </a:t>
          </a:r>
          <a:r>
            <a:rPr lang="de-DE" sz="2200" b="0" kern="1200" dirty="0" err="1"/>
            <a:t>updates</a:t>
          </a:r>
          <a:endParaRPr lang="es-CL" sz="2200" b="0" kern="1200" dirty="0"/>
        </a:p>
      </dsp:txBody>
      <dsp:txXfrm>
        <a:off x="25759" y="2510345"/>
        <a:ext cx="5434528" cy="476152"/>
      </dsp:txXfrm>
    </dsp:sp>
    <dsp:sp modelId="{3D17A67A-58EB-4D05-96CA-C1969C596648}">
      <dsp:nvSpPr>
        <dsp:cNvPr id="0" name=""/>
        <dsp:cNvSpPr/>
      </dsp:nvSpPr>
      <dsp:spPr>
        <a:xfrm>
          <a:off x="0" y="3075616"/>
          <a:ext cx="5486046" cy="52767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de-DE" sz="2200" b="0" kern="1200" dirty="0"/>
            <a:t>International </a:t>
          </a:r>
          <a:r>
            <a:rPr lang="de-DE" sz="2200" b="0" kern="1200" dirty="0" err="1"/>
            <a:t>comparative</a:t>
          </a:r>
          <a:r>
            <a:rPr lang="de-DE" sz="2200" b="0" kern="1200" dirty="0"/>
            <a:t> </a:t>
          </a:r>
          <a:r>
            <a:rPr lang="de-DE" sz="2200" b="0" kern="1200" dirty="0" err="1"/>
            <a:t>experience</a:t>
          </a:r>
          <a:endParaRPr lang="es-CL" sz="2200" b="0" kern="1200" dirty="0"/>
        </a:p>
      </dsp:txBody>
      <dsp:txXfrm>
        <a:off x="25759" y="3101375"/>
        <a:ext cx="5434528" cy="4761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FBAA9D-3C98-4312-ABD5-AAC590CA1F4B}">
      <dsp:nvSpPr>
        <dsp:cNvPr id="0" name=""/>
        <dsp:cNvSpPr/>
      </dsp:nvSpPr>
      <dsp:spPr>
        <a:xfrm rot="16200000">
          <a:off x="767658" y="1598141"/>
          <a:ext cx="437815" cy="1181870"/>
        </a:xfrm>
        <a:prstGeom prst="round2Same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t>Aug. 2012</a:t>
          </a:r>
        </a:p>
      </dsp:txBody>
      <dsp:txXfrm rot="5400000">
        <a:off x="417003" y="1991540"/>
        <a:ext cx="1160498" cy="395071"/>
      </dsp:txXfrm>
    </dsp:sp>
    <dsp:sp modelId="{9D875279-7F85-451B-AA08-DCB5C149A1E7}">
      <dsp:nvSpPr>
        <dsp:cNvPr id="0" name=""/>
        <dsp:cNvSpPr/>
      </dsp:nvSpPr>
      <dsp:spPr>
        <a:xfrm>
          <a:off x="1674"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solidFill>
                <a:srgbClr val="001F60">
                  <a:hueOff val="0"/>
                  <a:satOff val="0"/>
                  <a:lumOff val="0"/>
                  <a:alphaOff val="0"/>
                </a:srgbClr>
              </a:solidFill>
              <a:latin typeface="Century Gothic"/>
              <a:ea typeface="+mn-ea"/>
              <a:cs typeface="+mn-cs"/>
            </a:rPr>
            <a:t>D. 61: Vehicle Labeling Regulations.</a:t>
          </a:r>
        </a:p>
      </dsp:txBody>
      <dsp:txXfrm>
        <a:off x="1674" y="0"/>
        <a:ext cx="1969783" cy="1532353"/>
      </dsp:txXfrm>
    </dsp:sp>
    <dsp:sp modelId="{4A3D8B02-1214-46CE-8A43-CE419735DC67}">
      <dsp:nvSpPr>
        <dsp:cNvPr id="0" name=""/>
        <dsp:cNvSpPr/>
      </dsp:nvSpPr>
      <dsp:spPr>
        <a:xfrm>
          <a:off x="986566" y="1619916"/>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2C15677D-C56F-46EC-92F5-8582B34D741B}">
      <dsp:nvSpPr>
        <dsp:cNvPr id="0" name=""/>
        <dsp:cNvSpPr/>
      </dsp:nvSpPr>
      <dsp:spPr>
        <a:xfrm>
          <a:off x="942784" y="1532353"/>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993503-35AA-4DE5-9382-1AE376E2B913}">
      <dsp:nvSpPr>
        <dsp:cNvPr id="0" name=""/>
        <dsp:cNvSpPr/>
      </dsp:nvSpPr>
      <dsp:spPr>
        <a:xfrm>
          <a:off x="1577501" y="1970169"/>
          <a:ext cx="1181870" cy="437815"/>
        </a:xfrm>
        <a:prstGeom prst="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Feb. 2013</a:t>
          </a:r>
        </a:p>
      </dsp:txBody>
      <dsp:txXfrm>
        <a:off x="1577501" y="1970169"/>
        <a:ext cx="1181870" cy="437815"/>
      </dsp:txXfrm>
    </dsp:sp>
    <dsp:sp modelId="{ACC77FD0-3BD4-4641-AF46-F6078067D98A}">
      <dsp:nvSpPr>
        <dsp:cNvPr id="0" name=""/>
        <dsp:cNvSpPr/>
      </dsp:nvSpPr>
      <dsp:spPr>
        <a:xfrm>
          <a:off x="1183544"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de-DE" sz="1300" kern="1200" dirty="0"/>
            <a:t>Vehicle EE </a:t>
          </a:r>
          <a:r>
            <a:rPr lang="de-DE" sz="1300" kern="1200" dirty="0" err="1"/>
            <a:t>label</a:t>
          </a:r>
          <a:r>
            <a:rPr lang="de-DE" sz="1300" kern="1200" dirty="0"/>
            <a:t> </a:t>
          </a:r>
          <a:r>
            <a:rPr lang="de-DE" sz="1300" kern="1200" dirty="0" err="1"/>
            <a:t>validity</a:t>
          </a:r>
          <a:r>
            <a:rPr lang="de-DE" sz="1300" kern="1200" dirty="0"/>
            <a:t>. Light </a:t>
          </a:r>
          <a:r>
            <a:rPr lang="de-DE" sz="1300" kern="1200" dirty="0" err="1"/>
            <a:t>vehicles</a:t>
          </a:r>
          <a:r>
            <a:rPr lang="de-DE" sz="1300" kern="1200" dirty="0"/>
            <a:t>.</a:t>
          </a:r>
          <a:endParaRPr lang="en-US" sz="1300" kern="1200" dirty="0"/>
        </a:p>
      </dsp:txBody>
      <dsp:txXfrm>
        <a:off x="1183544" y="2845800"/>
        <a:ext cx="1969783" cy="1532353"/>
      </dsp:txXfrm>
    </dsp:sp>
    <dsp:sp modelId="{E1B6C157-3DC8-4DC1-B2D6-0DA5F839CE5B}">
      <dsp:nvSpPr>
        <dsp:cNvPr id="0" name=""/>
        <dsp:cNvSpPr/>
      </dsp:nvSpPr>
      <dsp:spPr>
        <a:xfrm>
          <a:off x="2168436" y="2407984"/>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4D28EF5E-2DC7-483D-814A-922388E608E1}">
      <dsp:nvSpPr>
        <dsp:cNvPr id="0" name=""/>
        <dsp:cNvSpPr/>
      </dsp:nvSpPr>
      <dsp:spPr>
        <a:xfrm>
          <a:off x="2124654" y="2758237"/>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B304C7-80EC-40B9-92A7-EE53243978E3}">
      <dsp:nvSpPr>
        <dsp:cNvPr id="0" name=""/>
        <dsp:cNvSpPr/>
      </dsp:nvSpPr>
      <dsp:spPr>
        <a:xfrm>
          <a:off x="2759371" y="1970169"/>
          <a:ext cx="1181870" cy="437815"/>
        </a:xfrm>
        <a:prstGeom prst="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Jun. 2017</a:t>
          </a:r>
        </a:p>
      </dsp:txBody>
      <dsp:txXfrm>
        <a:off x="2759371" y="1970169"/>
        <a:ext cx="1181870" cy="437815"/>
      </dsp:txXfrm>
    </dsp:sp>
    <dsp:sp modelId="{37DBEC9D-597E-4952-82EA-61209C019F08}">
      <dsp:nvSpPr>
        <dsp:cNvPr id="0" name=""/>
        <dsp:cNvSpPr/>
      </dsp:nvSpPr>
      <dsp:spPr>
        <a:xfrm>
          <a:off x="2365414"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t>Validity of the EE Vehicle Label. Medium vehicles.</a:t>
          </a:r>
        </a:p>
      </dsp:txBody>
      <dsp:txXfrm>
        <a:off x="2365414" y="0"/>
        <a:ext cx="1969783" cy="1532353"/>
      </dsp:txXfrm>
    </dsp:sp>
    <dsp:sp modelId="{136FD358-C3D4-4C41-8E55-CF28497117C0}">
      <dsp:nvSpPr>
        <dsp:cNvPr id="0" name=""/>
        <dsp:cNvSpPr/>
      </dsp:nvSpPr>
      <dsp:spPr>
        <a:xfrm>
          <a:off x="3350306" y="1619916"/>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961F41ED-A44D-43E9-B176-1927CE1B7AAC}">
      <dsp:nvSpPr>
        <dsp:cNvPr id="0" name=""/>
        <dsp:cNvSpPr/>
      </dsp:nvSpPr>
      <dsp:spPr>
        <a:xfrm>
          <a:off x="3306525" y="1532353"/>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3BF293-EAD5-4DFC-8662-4CFDF4A0D5F3}">
      <dsp:nvSpPr>
        <dsp:cNvPr id="0" name=""/>
        <dsp:cNvSpPr/>
      </dsp:nvSpPr>
      <dsp:spPr>
        <a:xfrm>
          <a:off x="3941241" y="1970169"/>
          <a:ext cx="1181870" cy="437815"/>
        </a:xfrm>
        <a:prstGeom prst="rect">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Sept. 2018</a:t>
          </a:r>
        </a:p>
      </dsp:txBody>
      <dsp:txXfrm>
        <a:off x="3941241" y="1970169"/>
        <a:ext cx="1181870" cy="437815"/>
      </dsp:txXfrm>
    </dsp:sp>
    <dsp:sp modelId="{C852B168-8BB4-484E-8B45-E818EB563ACD}">
      <dsp:nvSpPr>
        <dsp:cNvPr id="0" name=""/>
        <dsp:cNvSpPr/>
      </dsp:nvSpPr>
      <dsp:spPr>
        <a:xfrm>
          <a:off x="3547285"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b="0" kern="1200" dirty="0"/>
            <a:t>Energy efficiency policy entering Congress</a:t>
          </a:r>
        </a:p>
      </dsp:txBody>
      <dsp:txXfrm>
        <a:off x="3547285" y="2845800"/>
        <a:ext cx="1969783" cy="1532353"/>
      </dsp:txXfrm>
    </dsp:sp>
    <dsp:sp modelId="{1EE77A18-3D62-421E-872D-1F0DC1BFCC4F}">
      <dsp:nvSpPr>
        <dsp:cNvPr id="0" name=""/>
        <dsp:cNvSpPr/>
      </dsp:nvSpPr>
      <dsp:spPr>
        <a:xfrm>
          <a:off x="4532177" y="2407984"/>
          <a:ext cx="0" cy="350252"/>
        </a:xfrm>
        <a:prstGeom prst="line">
          <a:avLst/>
        </a:prstGeom>
        <a:noFill/>
        <a:ln w="6350" cap="flat" cmpd="sng" algn="ctr">
          <a:solidFill>
            <a:srgbClr val="68B0AB"/>
          </a:solidFill>
          <a:prstDash val="dash"/>
          <a:miter lim="800000"/>
        </a:ln>
        <a:effectLst/>
      </dsp:spPr>
      <dsp:style>
        <a:lnRef idx="1">
          <a:scrgbClr r="0" g="0" b="0"/>
        </a:lnRef>
        <a:fillRef idx="0">
          <a:scrgbClr r="0" g="0" b="0"/>
        </a:fillRef>
        <a:effectRef idx="0">
          <a:scrgbClr r="0" g="0" b="0"/>
        </a:effectRef>
        <a:fontRef idx="minor"/>
      </dsp:style>
    </dsp:sp>
    <dsp:sp modelId="{D9DA2A49-8D17-4824-86BD-98B72C3CF269}">
      <dsp:nvSpPr>
        <dsp:cNvPr id="0" name=""/>
        <dsp:cNvSpPr/>
      </dsp:nvSpPr>
      <dsp:spPr>
        <a:xfrm>
          <a:off x="4488395" y="2758237"/>
          <a:ext cx="87563" cy="87563"/>
        </a:xfrm>
        <a:prstGeom prst="ellipse">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74D865-B074-4541-8434-6DAB84D74850}">
      <dsp:nvSpPr>
        <dsp:cNvPr id="0" name=""/>
        <dsp:cNvSpPr/>
      </dsp:nvSpPr>
      <dsp:spPr>
        <a:xfrm>
          <a:off x="5123112" y="1970169"/>
          <a:ext cx="1181870" cy="437815"/>
        </a:xfrm>
        <a:prstGeom prst="rect">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Feb. 2021</a:t>
          </a:r>
        </a:p>
      </dsp:txBody>
      <dsp:txXfrm>
        <a:off x="5123112" y="1970169"/>
        <a:ext cx="1181870" cy="437815"/>
      </dsp:txXfrm>
    </dsp:sp>
    <dsp:sp modelId="{B240B086-CBA3-4C72-84AC-C1AC4E24786A}">
      <dsp:nvSpPr>
        <dsp:cNvPr id="0" name=""/>
        <dsp:cNvSpPr/>
      </dsp:nvSpPr>
      <dsp:spPr>
        <a:xfrm>
          <a:off x="4729155"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1" kern="1200" dirty="0"/>
            <a:t>Publication of the Energy Efficiency Law.</a:t>
          </a:r>
        </a:p>
      </dsp:txBody>
      <dsp:txXfrm>
        <a:off x="4729155" y="0"/>
        <a:ext cx="1969783" cy="1532353"/>
      </dsp:txXfrm>
    </dsp:sp>
    <dsp:sp modelId="{40D6440E-8C75-4CE0-B68D-0D7D338B208A}">
      <dsp:nvSpPr>
        <dsp:cNvPr id="0" name=""/>
        <dsp:cNvSpPr/>
      </dsp:nvSpPr>
      <dsp:spPr>
        <a:xfrm>
          <a:off x="5714047" y="1619916"/>
          <a:ext cx="0" cy="350252"/>
        </a:xfrm>
        <a:prstGeom prst="line">
          <a:avLst/>
        </a:prstGeom>
        <a:noFill/>
        <a:ln w="6350" cap="flat" cmpd="sng" algn="ctr">
          <a:solidFill>
            <a:srgbClr val="68B0AB"/>
          </a:solidFill>
          <a:prstDash val="dash"/>
          <a:miter lim="800000"/>
        </a:ln>
        <a:effectLst/>
      </dsp:spPr>
      <dsp:style>
        <a:lnRef idx="1">
          <a:scrgbClr r="0" g="0" b="0"/>
        </a:lnRef>
        <a:fillRef idx="0">
          <a:scrgbClr r="0" g="0" b="0"/>
        </a:fillRef>
        <a:effectRef idx="0">
          <a:scrgbClr r="0" g="0" b="0"/>
        </a:effectRef>
        <a:fontRef idx="minor"/>
      </dsp:style>
    </dsp:sp>
    <dsp:sp modelId="{B902014F-A5AF-4EB9-B0BA-2DB93905E7B6}">
      <dsp:nvSpPr>
        <dsp:cNvPr id="0" name=""/>
        <dsp:cNvSpPr/>
      </dsp:nvSpPr>
      <dsp:spPr>
        <a:xfrm>
          <a:off x="5670265" y="1532353"/>
          <a:ext cx="87563" cy="87563"/>
        </a:xfrm>
        <a:prstGeom prst="ellipse">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EE2088-9C66-48A1-BA1E-3D701A3ECC0B}">
      <dsp:nvSpPr>
        <dsp:cNvPr id="0" name=""/>
        <dsp:cNvSpPr/>
      </dsp:nvSpPr>
      <dsp:spPr>
        <a:xfrm>
          <a:off x="6304982"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Poppins"/>
            </a:rPr>
            <a:t>Feb. 2022</a:t>
          </a:r>
        </a:p>
      </dsp:txBody>
      <dsp:txXfrm>
        <a:off x="6304982" y="1970169"/>
        <a:ext cx="1181870" cy="437815"/>
      </dsp:txXfrm>
    </dsp:sp>
    <dsp:sp modelId="{B660B7E2-A753-4C49-8170-860DE8831991}">
      <dsp:nvSpPr>
        <dsp:cNvPr id="0" name=""/>
        <dsp:cNvSpPr/>
      </dsp:nvSpPr>
      <dsp:spPr>
        <a:xfrm>
          <a:off x="5911025"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rtl="0">
            <a:lnSpc>
              <a:spcPct val="90000"/>
            </a:lnSpc>
            <a:spcBef>
              <a:spcPct val="0"/>
            </a:spcBef>
            <a:spcAft>
              <a:spcPct val="35000"/>
            </a:spcAft>
            <a:buNone/>
          </a:pPr>
          <a:r>
            <a:rPr lang="en-US" sz="1300" kern="1200" dirty="0"/>
            <a:t>Publication of Resolution N°5 that sets standards for light vehicles.</a:t>
          </a:r>
          <a:endParaRPr lang="en-US" sz="1300" b="0" kern="1200" dirty="0">
            <a:latin typeface="Poppins"/>
          </a:endParaRPr>
        </a:p>
      </dsp:txBody>
      <dsp:txXfrm>
        <a:off x="5911025" y="2845800"/>
        <a:ext cx="1969783" cy="1532353"/>
      </dsp:txXfrm>
    </dsp:sp>
    <dsp:sp modelId="{85CECBD0-93CC-42AE-8F6F-ECC2ED561C5A}">
      <dsp:nvSpPr>
        <dsp:cNvPr id="0" name=""/>
        <dsp:cNvSpPr/>
      </dsp:nvSpPr>
      <dsp:spPr>
        <a:xfrm>
          <a:off x="6895917" y="2407984"/>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2785E163-1756-42E5-8694-20F106FC4464}">
      <dsp:nvSpPr>
        <dsp:cNvPr id="0" name=""/>
        <dsp:cNvSpPr/>
      </dsp:nvSpPr>
      <dsp:spPr>
        <a:xfrm>
          <a:off x="6852136" y="2758237"/>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9DDCB8-A7CE-4ABC-A765-5150F894F2C7}">
      <dsp:nvSpPr>
        <dsp:cNvPr id="0" name=""/>
        <dsp:cNvSpPr/>
      </dsp:nvSpPr>
      <dsp:spPr>
        <a:xfrm>
          <a:off x="7486853"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1" kern="1200"/>
            <a:t>2024</a:t>
          </a:r>
        </a:p>
      </dsp:txBody>
      <dsp:txXfrm>
        <a:off x="7486853" y="1970169"/>
        <a:ext cx="1181870" cy="437815"/>
      </dsp:txXfrm>
    </dsp:sp>
    <dsp:sp modelId="{52ED8438-FA17-459A-A442-A91BA1199954}">
      <dsp:nvSpPr>
        <dsp:cNvPr id="0" name=""/>
        <dsp:cNvSpPr/>
      </dsp:nvSpPr>
      <dsp:spPr>
        <a:xfrm>
          <a:off x="7092896"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0" kern="1200" dirty="0"/>
            <a:t>February: light vehicles entry into force.
April: Publication of Resolution No. 14 that sets the standard for medium-sized vehicles</a:t>
          </a:r>
        </a:p>
      </dsp:txBody>
      <dsp:txXfrm>
        <a:off x="7092896" y="0"/>
        <a:ext cx="1969783" cy="1532353"/>
      </dsp:txXfrm>
    </dsp:sp>
    <dsp:sp modelId="{A46217C5-00DB-444E-B512-719594E522DA}">
      <dsp:nvSpPr>
        <dsp:cNvPr id="0" name=""/>
        <dsp:cNvSpPr/>
      </dsp:nvSpPr>
      <dsp:spPr>
        <a:xfrm>
          <a:off x="8077788" y="1619916"/>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44CFEE9C-A5F8-4D60-828D-5EE23D37A2AF}">
      <dsp:nvSpPr>
        <dsp:cNvPr id="0" name=""/>
        <dsp:cNvSpPr/>
      </dsp:nvSpPr>
      <dsp:spPr>
        <a:xfrm>
          <a:off x="8034006" y="1532353"/>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3B96C1-17D5-429D-B75D-F558A960CE0C}">
      <dsp:nvSpPr>
        <dsp:cNvPr id="0" name=""/>
        <dsp:cNvSpPr/>
      </dsp:nvSpPr>
      <dsp:spPr>
        <a:xfrm>
          <a:off x="8668723"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2026</a:t>
          </a:r>
        </a:p>
      </dsp:txBody>
      <dsp:txXfrm>
        <a:off x="8668723" y="1970169"/>
        <a:ext cx="1181870" cy="437815"/>
      </dsp:txXfrm>
    </dsp:sp>
    <dsp:sp modelId="{DE7E5952-8F38-4C15-BBC0-A95779E9EF38}">
      <dsp:nvSpPr>
        <dsp:cNvPr id="0" name=""/>
        <dsp:cNvSpPr/>
      </dsp:nvSpPr>
      <dsp:spPr>
        <a:xfrm>
          <a:off x="8330491"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dirty="0"/>
            <a:t>Feb: standard publication v. heavy.
April: entry into force v. medium.</a:t>
          </a:r>
        </a:p>
      </dsp:txBody>
      <dsp:txXfrm>
        <a:off x="8330491" y="2845800"/>
        <a:ext cx="1969783" cy="1532353"/>
      </dsp:txXfrm>
    </dsp:sp>
    <dsp:sp modelId="{B40660E7-480B-4517-8336-4F32C2822BE3}">
      <dsp:nvSpPr>
        <dsp:cNvPr id="0" name=""/>
        <dsp:cNvSpPr/>
      </dsp:nvSpPr>
      <dsp:spPr>
        <a:xfrm>
          <a:off x="9259658" y="2407984"/>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12D427F4-99AD-4AF6-848D-32B3B6C1983E}">
      <dsp:nvSpPr>
        <dsp:cNvPr id="0" name=""/>
        <dsp:cNvSpPr/>
      </dsp:nvSpPr>
      <dsp:spPr>
        <a:xfrm>
          <a:off x="9215877" y="2758237"/>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E58C29-08CA-4BD6-8750-F9DF2B5218E3}">
      <dsp:nvSpPr>
        <dsp:cNvPr id="0" name=""/>
        <dsp:cNvSpPr/>
      </dsp:nvSpPr>
      <dsp:spPr>
        <a:xfrm rot="5400000">
          <a:off x="10222621" y="1598141"/>
          <a:ext cx="437815" cy="1181870"/>
        </a:xfrm>
        <a:prstGeom prst="round2Same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2028</a:t>
          </a:r>
        </a:p>
      </dsp:txBody>
      <dsp:txXfrm rot="-5400000">
        <a:off x="9850594" y="1991540"/>
        <a:ext cx="1160498" cy="395071"/>
      </dsp:txXfrm>
    </dsp:sp>
    <dsp:sp modelId="{12B3EE98-8EA9-477D-94FC-AC58F05F5524}">
      <dsp:nvSpPr>
        <dsp:cNvPr id="0" name=""/>
        <dsp:cNvSpPr/>
      </dsp:nvSpPr>
      <dsp:spPr>
        <a:xfrm>
          <a:off x="9456637"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0" kern="1200" dirty="0"/>
            <a:t>Deadline for entry into force of the heavy vehicle standard</a:t>
          </a:r>
        </a:p>
      </dsp:txBody>
      <dsp:txXfrm>
        <a:off x="9456637" y="0"/>
        <a:ext cx="1969783" cy="1532353"/>
      </dsp:txXfrm>
    </dsp:sp>
    <dsp:sp modelId="{89CC0DF3-1F74-4B31-A04D-4075AB915F19}">
      <dsp:nvSpPr>
        <dsp:cNvPr id="0" name=""/>
        <dsp:cNvSpPr/>
      </dsp:nvSpPr>
      <dsp:spPr>
        <a:xfrm>
          <a:off x="10441528" y="1619916"/>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84C9B3F7-DF05-4119-B805-6C432BEE03A2}">
      <dsp:nvSpPr>
        <dsp:cNvPr id="0" name=""/>
        <dsp:cNvSpPr/>
      </dsp:nvSpPr>
      <dsp:spPr>
        <a:xfrm>
          <a:off x="10397747" y="1532353"/>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D4F584-5C2E-4843-8156-043E67C0EB04}">
      <dsp:nvSpPr>
        <dsp:cNvPr id="0" name=""/>
        <dsp:cNvSpPr/>
      </dsp:nvSpPr>
      <dsp:spPr>
        <a:xfrm>
          <a:off x="1454246" y="0"/>
          <a:ext cx="5195376" cy="5195376"/>
        </a:xfrm>
        <a:prstGeom prst="diamond">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83C145-B791-4FDD-8403-C092054F5CF7}">
      <dsp:nvSpPr>
        <dsp:cNvPr id="0" name=""/>
        <dsp:cNvSpPr/>
      </dsp:nvSpPr>
      <dsp:spPr>
        <a:xfrm>
          <a:off x="1947807" y="493560"/>
          <a:ext cx="2026196" cy="2026196"/>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b="1" kern="1200" dirty="0"/>
            <a:t>System </a:t>
          </a:r>
          <a:r>
            <a:rPr lang="de-DE" sz="1900" b="1" kern="1200" dirty="0" err="1"/>
            <a:t>actors</a:t>
          </a:r>
          <a:r>
            <a:rPr lang="de-DE" sz="1900" b="1" kern="1200" dirty="0"/>
            <a:t>: Stakeholder </a:t>
          </a:r>
          <a:r>
            <a:rPr lang="de-DE" sz="1900" b="1" kern="1200" dirty="0" err="1"/>
            <a:t>analysis</a:t>
          </a:r>
          <a:r>
            <a:rPr lang="es-CL" sz="1900" b="1" kern="1200" dirty="0"/>
            <a:t>.</a:t>
          </a:r>
        </a:p>
      </dsp:txBody>
      <dsp:txXfrm>
        <a:off x="2046718" y="592471"/>
        <a:ext cx="1828374" cy="1828374"/>
      </dsp:txXfrm>
    </dsp:sp>
    <dsp:sp modelId="{44FB8E86-0991-40E3-8E3C-DA7AB1202103}">
      <dsp:nvSpPr>
        <dsp:cNvPr id="0" name=""/>
        <dsp:cNvSpPr/>
      </dsp:nvSpPr>
      <dsp:spPr>
        <a:xfrm>
          <a:off x="4129865" y="493560"/>
          <a:ext cx="2026196" cy="2026196"/>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dirty="0"/>
            <a:t>Analysis of possibilities: emissions, performance, others</a:t>
          </a:r>
          <a:r>
            <a:rPr lang="es-MX" sz="1900" b="1" kern="1200" dirty="0"/>
            <a:t>.</a:t>
          </a:r>
          <a:endParaRPr lang="es-CL" sz="1900" b="1" kern="1200" dirty="0"/>
        </a:p>
      </dsp:txBody>
      <dsp:txXfrm>
        <a:off x="4228776" y="592471"/>
        <a:ext cx="1828374" cy="1828374"/>
      </dsp:txXfrm>
    </dsp:sp>
    <dsp:sp modelId="{49727C9C-3DF7-4721-94CD-DC75E839A7C9}">
      <dsp:nvSpPr>
        <dsp:cNvPr id="0" name=""/>
        <dsp:cNvSpPr/>
      </dsp:nvSpPr>
      <dsp:spPr>
        <a:xfrm>
          <a:off x="1947807" y="2675618"/>
          <a:ext cx="2026196" cy="2026196"/>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de-DE" sz="1900" b="1" kern="1200" dirty="0"/>
            <a:t>Expert support: Universidad de Chile</a:t>
          </a:r>
          <a:r>
            <a:rPr lang="es-CL" sz="1900" b="1" kern="1200" dirty="0"/>
            <a:t>.</a:t>
          </a:r>
        </a:p>
      </dsp:txBody>
      <dsp:txXfrm>
        <a:off x="2046718" y="2774529"/>
        <a:ext cx="1828374" cy="1828374"/>
      </dsp:txXfrm>
    </dsp:sp>
    <dsp:sp modelId="{E9F00621-A88F-4083-8232-52938AF0C990}">
      <dsp:nvSpPr>
        <dsp:cNvPr id="0" name=""/>
        <dsp:cNvSpPr/>
      </dsp:nvSpPr>
      <dsp:spPr>
        <a:xfrm>
          <a:off x="4129865" y="2675618"/>
          <a:ext cx="2026196" cy="2026196"/>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s-CL" sz="1900" b="1" kern="1200" dirty="0" err="1"/>
            <a:t>Political</a:t>
          </a:r>
          <a:r>
            <a:rPr lang="es-CL" sz="1900" b="1" kern="1200" dirty="0"/>
            <a:t> </a:t>
          </a:r>
          <a:r>
            <a:rPr lang="es-CL" sz="1900" b="1" kern="1200" dirty="0" err="1"/>
            <a:t>will</a:t>
          </a:r>
          <a:r>
            <a:rPr lang="es-CL" sz="1900" b="0" kern="1200" dirty="0"/>
            <a:t>.</a:t>
          </a:r>
        </a:p>
      </dsp:txBody>
      <dsp:txXfrm>
        <a:off x="4228776" y="2774529"/>
        <a:ext cx="1828374" cy="182837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FBAA9D-3C98-4312-ABD5-AAC590CA1F4B}">
      <dsp:nvSpPr>
        <dsp:cNvPr id="0" name=""/>
        <dsp:cNvSpPr/>
      </dsp:nvSpPr>
      <dsp:spPr>
        <a:xfrm rot="16200000">
          <a:off x="767658" y="1598141"/>
          <a:ext cx="437815" cy="1181870"/>
        </a:xfrm>
        <a:prstGeom prst="round2Same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t>Aug. 2012</a:t>
          </a:r>
        </a:p>
      </dsp:txBody>
      <dsp:txXfrm rot="5400000">
        <a:off x="417003" y="1991540"/>
        <a:ext cx="1160498" cy="395071"/>
      </dsp:txXfrm>
    </dsp:sp>
    <dsp:sp modelId="{9D875279-7F85-451B-AA08-DCB5C149A1E7}">
      <dsp:nvSpPr>
        <dsp:cNvPr id="0" name=""/>
        <dsp:cNvSpPr/>
      </dsp:nvSpPr>
      <dsp:spPr>
        <a:xfrm>
          <a:off x="1674"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solidFill>
                <a:srgbClr val="001F60">
                  <a:hueOff val="0"/>
                  <a:satOff val="0"/>
                  <a:lumOff val="0"/>
                  <a:alphaOff val="0"/>
                </a:srgbClr>
              </a:solidFill>
              <a:latin typeface="Century Gothic"/>
              <a:ea typeface="+mn-ea"/>
              <a:cs typeface="+mn-cs"/>
            </a:rPr>
            <a:t>D. 61: Vehicle Labeling Regulations.</a:t>
          </a:r>
        </a:p>
      </dsp:txBody>
      <dsp:txXfrm>
        <a:off x="1674" y="0"/>
        <a:ext cx="1969783" cy="1532353"/>
      </dsp:txXfrm>
    </dsp:sp>
    <dsp:sp modelId="{4A3D8B02-1214-46CE-8A43-CE419735DC67}">
      <dsp:nvSpPr>
        <dsp:cNvPr id="0" name=""/>
        <dsp:cNvSpPr/>
      </dsp:nvSpPr>
      <dsp:spPr>
        <a:xfrm>
          <a:off x="986566" y="1619916"/>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2C15677D-C56F-46EC-92F5-8582B34D741B}">
      <dsp:nvSpPr>
        <dsp:cNvPr id="0" name=""/>
        <dsp:cNvSpPr/>
      </dsp:nvSpPr>
      <dsp:spPr>
        <a:xfrm>
          <a:off x="942784" y="1532353"/>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993503-35AA-4DE5-9382-1AE376E2B913}">
      <dsp:nvSpPr>
        <dsp:cNvPr id="0" name=""/>
        <dsp:cNvSpPr/>
      </dsp:nvSpPr>
      <dsp:spPr>
        <a:xfrm>
          <a:off x="1577501" y="1970169"/>
          <a:ext cx="1181870" cy="437815"/>
        </a:xfrm>
        <a:prstGeom prst="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Feb. 2013</a:t>
          </a:r>
        </a:p>
      </dsp:txBody>
      <dsp:txXfrm>
        <a:off x="1577501" y="1970169"/>
        <a:ext cx="1181870" cy="437815"/>
      </dsp:txXfrm>
    </dsp:sp>
    <dsp:sp modelId="{ACC77FD0-3BD4-4641-AF46-F6078067D98A}">
      <dsp:nvSpPr>
        <dsp:cNvPr id="0" name=""/>
        <dsp:cNvSpPr/>
      </dsp:nvSpPr>
      <dsp:spPr>
        <a:xfrm>
          <a:off x="1183544"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de-DE" sz="1300" kern="1200" dirty="0"/>
            <a:t>Vehicle EE </a:t>
          </a:r>
          <a:r>
            <a:rPr lang="de-DE" sz="1300" kern="1200" dirty="0" err="1"/>
            <a:t>label</a:t>
          </a:r>
          <a:r>
            <a:rPr lang="de-DE" sz="1300" kern="1200" dirty="0"/>
            <a:t> </a:t>
          </a:r>
          <a:r>
            <a:rPr lang="de-DE" sz="1300" kern="1200" dirty="0" err="1"/>
            <a:t>validity</a:t>
          </a:r>
          <a:r>
            <a:rPr lang="de-DE" sz="1300" kern="1200" dirty="0"/>
            <a:t>. Light </a:t>
          </a:r>
          <a:r>
            <a:rPr lang="de-DE" sz="1300" kern="1200" dirty="0" err="1"/>
            <a:t>vehicles</a:t>
          </a:r>
          <a:r>
            <a:rPr lang="de-DE" sz="1300" kern="1200" dirty="0"/>
            <a:t>.</a:t>
          </a:r>
          <a:endParaRPr lang="en-US" sz="1300" kern="1200" dirty="0"/>
        </a:p>
      </dsp:txBody>
      <dsp:txXfrm>
        <a:off x="1183544" y="2845800"/>
        <a:ext cx="1969783" cy="1532353"/>
      </dsp:txXfrm>
    </dsp:sp>
    <dsp:sp modelId="{E1B6C157-3DC8-4DC1-B2D6-0DA5F839CE5B}">
      <dsp:nvSpPr>
        <dsp:cNvPr id="0" name=""/>
        <dsp:cNvSpPr/>
      </dsp:nvSpPr>
      <dsp:spPr>
        <a:xfrm>
          <a:off x="2168436" y="2407984"/>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4D28EF5E-2DC7-483D-814A-922388E608E1}">
      <dsp:nvSpPr>
        <dsp:cNvPr id="0" name=""/>
        <dsp:cNvSpPr/>
      </dsp:nvSpPr>
      <dsp:spPr>
        <a:xfrm>
          <a:off x="2124654" y="2758237"/>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B304C7-80EC-40B9-92A7-EE53243978E3}">
      <dsp:nvSpPr>
        <dsp:cNvPr id="0" name=""/>
        <dsp:cNvSpPr/>
      </dsp:nvSpPr>
      <dsp:spPr>
        <a:xfrm>
          <a:off x="2759371" y="1970169"/>
          <a:ext cx="1181870" cy="437815"/>
        </a:xfrm>
        <a:prstGeom prst="rect">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Jun. 2017</a:t>
          </a:r>
        </a:p>
      </dsp:txBody>
      <dsp:txXfrm>
        <a:off x="2759371" y="1970169"/>
        <a:ext cx="1181870" cy="437815"/>
      </dsp:txXfrm>
    </dsp:sp>
    <dsp:sp modelId="{37DBEC9D-597E-4952-82EA-61209C019F08}">
      <dsp:nvSpPr>
        <dsp:cNvPr id="0" name=""/>
        <dsp:cNvSpPr/>
      </dsp:nvSpPr>
      <dsp:spPr>
        <a:xfrm>
          <a:off x="2365414"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t>Validity of the EE Vehicle Label. Medium vehicles.</a:t>
          </a:r>
        </a:p>
      </dsp:txBody>
      <dsp:txXfrm>
        <a:off x="2365414" y="0"/>
        <a:ext cx="1969783" cy="1532353"/>
      </dsp:txXfrm>
    </dsp:sp>
    <dsp:sp modelId="{136FD358-C3D4-4C41-8E55-CF28497117C0}">
      <dsp:nvSpPr>
        <dsp:cNvPr id="0" name=""/>
        <dsp:cNvSpPr/>
      </dsp:nvSpPr>
      <dsp:spPr>
        <a:xfrm>
          <a:off x="3350306" y="1619916"/>
          <a:ext cx="0" cy="350252"/>
        </a:xfrm>
        <a:prstGeom prst="line">
          <a:avLst/>
        </a:prstGeom>
        <a:noFill/>
        <a:ln w="6350" cap="flat" cmpd="sng" algn="ctr">
          <a:solidFill>
            <a:srgbClr val="001F60"/>
          </a:solidFill>
          <a:prstDash val="dash"/>
          <a:miter lim="800000"/>
        </a:ln>
        <a:effectLst/>
      </dsp:spPr>
      <dsp:style>
        <a:lnRef idx="1">
          <a:scrgbClr r="0" g="0" b="0"/>
        </a:lnRef>
        <a:fillRef idx="0">
          <a:scrgbClr r="0" g="0" b="0"/>
        </a:fillRef>
        <a:effectRef idx="0">
          <a:scrgbClr r="0" g="0" b="0"/>
        </a:effectRef>
        <a:fontRef idx="minor"/>
      </dsp:style>
    </dsp:sp>
    <dsp:sp modelId="{961F41ED-A44D-43E9-B176-1927CE1B7AAC}">
      <dsp:nvSpPr>
        <dsp:cNvPr id="0" name=""/>
        <dsp:cNvSpPr/>
      </dsp:nvSpPr>
      <dsp:spPr>
        <a:xfrm>
          <a:off x="3306525" y="1532353"/>
          <a:ext cx="87563" cy="87563"/>
        </a:xfrm>
        <a:prstGeom prst="ellipse">
          <a:avLst/>
        </a:prstGeom>
        <a:solidFill>
          <a:srgbClr val="001F60"/>
        </a:solidFill>
        <a:ln w="12700" cap="flat" cmpd="sng" algn="ctr">
          <a:solidFill>
            <a:srgbClr val="001F6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3BF293-EAD5-4DFC-8662-4CFDF4A0D5F3}">
      <dsp:nvSpPr>
        <dsp:cNvPr id="0" name=""/>
        <dsp:cNvSpPr/>
      </dsp:nvSpPr>
      <dsp:spPr>
        <a:xfrm>
          <a:off x="3941241" y="1970169"/>
          <a:ext cx="1181870" cy="437815"/>
        </a:xfrm>
        <a:prstGeom prst="rect">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Sept. 2018</a:t>
          </a:r>
        </a:p>
      </dsp:txBody>
      <dsp:txXfrm>
        <a:off x="3941241" y="1970169"/>
        <a:ext cx="1181870" cy="437815"/>
      </dsp:txXfrm>
    </dsp:sp>
    <dsp:sp modelId="{C852B168-8BB4-484E-8B45-E818EB563ACD}">
      <dsp:nvSpPr>
        <dsp:cNvPr id="0" name=""/>
        <dsp:cNvSpPr/>
      </dsp:nvSpPr>
      <dsp:spPr>
        <a:xfrm>
          <a:off x="3547285"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b="0" kern="1200" dirty="0"/>
            <a:t>Energy efficiency policy entering Congress</a:t>
          </a:r>
        </a:p>
      </dsp:txBody>
      <dsp:txXfrm>
        <a:off x="3547285" y="2845800"/>
        <a:ext cx="1969783" cy="1532353"/>
      </dsp:txXfrm>
    </dsp:sp>
    <dsp:sp modelId="{1EE77A18-3D62-421E-872D-1F0DC1BFCC4F}">
      <dsp:nvSpPr>
        <dsp:cNvPr id="0" name=""/>
        <dsp:cNvSpPr/>
      </dsp:nvSpPr>
      <dsp:spPr>
        <a:xfrm>
          <a:off x="4532177" y="2407984"/>
          <a:ext cx="0" cy="350252"/>
        </a:xfrm>
        <a:prstGeom prst="line">
          <a:avLst/>
        </a:prstGeom>
        <a:noFill/>
        <a:ln w="6350" cap="flat" cmpd="sng" algn="ctr">
          <a:solidFill>
            <a:srgbClr val="68B0AB"/>
          </a:solidFill>
          <a:prstDash val="dash"/>
          <a:miter lim="800000"/>
        </a:ln>
        <a:effectLst/>
      </dsp:spPr>
      <dsp:style>
        <a:lnRef idx="1">
          <a:scrgbClr r="0" g="0" b="0"/>
        </a:lnRef>
        <a:fillRef idx="0">
          <a:scrgbClr r="0" g="0" b="0"/>
        </a:fillRef>
        <a:effectRef idx="0">
          <a:scrgbClr r="0" g="0" b="0"/>
        </a:effectRef>
        <a:fontRef idx="minor"/>
      </dsp:style>
    </dsp:sp>
    <dsp:sp modelId="{D9DA2A49-8D17-4824-86BD-98B72C3CF269}">
      <dsp:nvSpPr>
        <dsp:cNvPr id="0" name=""/>
        <dsp:cNvSpPr/>
      </dsp:nvSpPr>
      <dsp:spPr>
        <a:xfrm>
          <a:off x="4488395" y="2758237"/>
          <a:ext cx="87563" cy="87563"/>
        </a:xfrm>
        <a:prstGeom prst="ellipse">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74D865-B074-4541-8434-6DAB84D74850}">
      <dsp:nvSpPr>
        <dsp:cNvPr id="0" name=""/>
        <dsp:cNvSpPr/>
      </dsp:nvSpPr>
      <dsp:spPr>
        <a:xfrm>
          <a:off x="5123112" y="1970169"/>
          <a:ext cx="1181870" cy="437815"/>
        </a:xfrm>
        <a:prstGeom prst="rect">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Feb. 2021</a:t>
          </a:r>
        </a:p>
      </dsp:txBody>
      <dsp:txXfrm>
        <a:off x="5123112" y="1970169"/>
        <a:ext cx="1181870" cy="437815"/>
      </dsp:txXfrm>
    </dsp:sp>
    <dsp:sp modelId="{B240B086-CBA3-4C72-84AC-C1AC4E24786A}">
      <dsp:nvSpPr>
        <dsp:cNvPr id="0" name=""/>
        <dsp:cNvSpPr/>
      </dsp:nvSpPr>
      <dsp:spPr>
        <a:xfrm>
          <a:off x="4729155"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1" kern="1200" dirty="0"/>
            <a:t>Publication of the Energy Efficiency Law.</a:t>
          </a:r>
        </a:p>
      </dsp:txBody>
      <dsp:txXfrm>
        <a:off x="4729155" y="0"/>
        <a:ext cx="1969783" cy="1532353"/>
      </dsp:txXfrm>
    </dsp:sp>
    <dsp:sp modelId="{40D6440E-8C75-4CE0-B68D-0D7D338B208A}">
      <dsp:nvSpPr>
        <dsp:cNvPr id="0" name=""/>
        <dsp:cNvSpPr/>
      </dsp:nvSpPr>
      <dsp:spPr>
        <a:xfrm>
          <a:off x="5714047" y="1619916"/>
          <a:ext cx="0" cy="350252"/>
        </a:xfrm>
        <a:prstGeom prst="line">
          <a:avLst/>
        </a:prstGeom>
        <a:noFill/>
        <a:ln w="6350" cap="flat" cmpd="sng" algn="ctr">
          <a:solidFill>
            <a:srgbClr val="68B0AB"/>
          </a:solidFill>
          <a:prstDash val="dash"/>
          <a:miter lim="800000"/>
        </a:ln>
        <a:effectLst/>
      </dsp:spPr>
      <dsp:style>
        <a:lnRef idx="1">
          <a:scrgbClr r="0" g="0" b="0"/>
        </a:lnRef>
        <a:fillRef idx="0">
          <a:scrgbClr r="0" g="0" b="0"/>
        </a:fillRef>
        <a:effectRef idx="0">
          <a:scrgbClr r="0" g="0" b="0"/>
        </a:effectRef>
        <a:fontRef idx="minor"/>
      </dsp:style>
    </dsp:sp>
    <dsp:sp modelId="{B902014F-A5AF-4EB9-B0BA-2DB93905E7B6}">
      <dsp:nvSpPr>
        <dsp:cNvPr id="0" name=""/>
        <dsp:cNvSpPr/>
      </dsp:nvSpPr>
      <dsp:spPr>
        <a:xfrm>
          <a:off x="5670265" y="1532353"/>
          <a:ext cx="87563" cy="87563"/>
        </a:xfrm>
        <a:prstGeom prst="ellipse">
          <a:avLst/>
        </a:prstGeom>
        <a:solidFill>
          <a:srgbClr val="68B0AB"/>
        </a:solidFill>
        <a:ln w="12700" cap="flat" cmpd="sng" algn="ctr">
          <a:solidFill>
            <a:srgbClr val="68B0AB"/>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EE2088-9C66-48A1-BA1E-3D701A3ECC0B}">
      <dsp:nvSpPr>
        <dsp:cNvPr id="0" name=""/>
        <dsp:cNvSpPr/>
      </dsp:nvSpPr>
      <dsp:spPr>
        <a:xfrm>
          <a:off x="6304982"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rtl="0">
            <a:lnSpc>
              <a:spcPct val="90000"/>
            </a:lnSpc>
            <a:spcBef>
              <a:spcPct val="0"/>
            </a:spcBef>
            <a:spcAft>
              <a:spcPct val="35000"/>
            </a:spcAft>
            <a:buNone/>
          </a:pPr>
          <a:r>
            <a:rPr lang="en-US" sz="1300" b="0" kern="1200">
              <a:latin typeface="Poppins"/>
            </a:rPr>
            <a:t>Feb. 2022</a:t>
          </a:r>
        </a:p>
      </dsp:txBody>
      <dsp:txXfrm>
        <a:off x="6304982" y="1970169"/>
        <a:ext cx="1181870" cy="437815"/>
      </dsp:txXfrm>
    </dsp:sp>
    <dsp:sp modelId="{B660B7E2-A753-4C49-8170-860DE8831991}">
      <dsp:nvSpPr>
        <dsp:cNvPr id="0" name=""/>
        <dsp:cNvSpPr/>
      </dsp:nvSpPr>
      <dsp:spPr>
        <a:xfrm>
          <a:off x="5911025"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rtl="0">
            <a:lnSpc>
              <a:spcPct val="90000"/>
            </a:lnSpc>
            <a:spcBef>
              <a:spcPct val="0"/>
            </a:spcBef>
            <a:spcAft>
              <a:spcPct val="35000"/>
            </a:spcAft>
            <a:buNone/>
          </a:pPr>
          <a:r>
            <a:rPr lang="en-US" sz="1300" kern="1200" dirty="0"/>
            <a:t>Publication of Resolution N°5 that sets standards for light vehicles.</a:t>
          </a:r>
          <a:endParaRPr lang="en-US" sz="1300" b="0" kern="1200" dirty="0">
            <a:latin typeface="Poppins"/>
          </a:endParaRPr>
        </a:p>
      </dsp:txBody>
      <dsp:txXfrm>
        <a:off x="5911025" y="2845800"/>
        <a:ext cx="1969783" cy="1532353"/>
      </dsp:txXfrm>
    </dsp:sp>
    <dsp:sp modelId="{85CECBD0-93CC-42AE-8F6F-ECC2ED561C5A}">
      <dsp:nvSpPr>
        <dsp:cNvPr id="0" name=""/>
        <dsp:cNvSpPr/>
      </dsp:nvSpPr>
      <dsp:spPr>
        <a:xfrm>
          <a:off x="6895917" y="2407984"/>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2785E163-1756-42E5-8694-20F106FC4464}">
      <dsp:nvSpPr>
        <dsp:cNvPr id="0" name=""/>
        <dsp:cNvSpPr/>
      </dsp:nvSpPr>
      <dsp:spPr>
        <a:xfrm>
          <a:off x="6852136" y="2758237"/>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9DDCB8-A7CE-4ABC-A765-5150F894F2C7}">
      <dsp:nvSpPr>
        <dsp:cNvPr id="0" name=""/>
        <dsp:cNvSpPr/>
      </dsp:nvSpPr>
      <dsp:spPr>
        <a:xfrm>
          <a:off x="7486853"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1" kern="1200"/>
            <a:t>2024</a:t>
          </a:r>
        </a:p>
      </dsp:txBody>
      <dsp:txXfrm>
        <a:off x="7486853" y="1970169"/>
        <a:ext cx="1181870" cy="437815"/>
      </dsp:txXfrm>
    </dsp:sp>
    <dsp:sp modelId="{52ED8438-FA17-459A-A442-A91BA1199954}">
      <dsp:nvSpPr>
        <dsp:cNvPr id="0" name=""/>
        <dsp:cNvSpPr/>
      </dsp:nvSpPr>
      <dsp:spPr>
        <a:xfrm>
          <a:off x="7092896"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0" kern="1200" dirty="0"/>
            <a:t>February: light vehicles entry into force.
April: Publication of Resolution No. 14 that sets the standard for medium-sized vehicles</a:t>
          </a:r>
        </a:p>
      </dsp:txBody>
      <dsp:txXfrm>
        <a:off x="7092896" y="0"/>
        <a:ext cx="1969783" cy="1532353"/>
      </dsp:txXfrm>
    </dsp:sp>
    <dsp:sp modelId="{A46217C5-00DB-444E-B512-719594E522DA}">
      <dsp:nvSpPr>
        <dsp:cNvPr id="0" name=""/>
        <dsp:cNvSpPr/>
      </dsp:nvSpPr>
      <dsp:spPr>
        <a:xfrm>
          <a:off x="8077788" y="1619916"/>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44CFEE9C-A5F8-4D60-828D-5EE23D37A2AF}">
      <dsp:nvSpPr>
        <dsp:cNvPr id="0" name=""/>
        <dsp:cNvSpPr/>
      </dsp:nvSpPr>
      <dsp:spPr>
        <a:xfrm>
          <a:off x="8034006" y="1532353"/>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3B96C1-17D5-429D-B75D-F558A960CE0C}">
      <dsp:nvSpPr>
        <dsp:cNvPr id="0" name=""/>
        <dsp:cNvSpPr/>
      </dsp:nvSpPr>
      <dsp:spPr>
        <a:xfrm>
          <a:off x="8668723" y="1970169"/>
          <a:ext cx="1181870" cy="437815"/>
        </a:xfrm>
        <a:prstGeom prst="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2026</a:t>
          </a:r>
        </a:p>
      </dsp:txBody>
      <dsp:txXfrm>
        <a:off x="8668723" y="1970169"/>
        <a:ext cx="1181870" cy="437815"/>
      </dsp:txXfrm>
    </dsp:sp>
    <dsp:sp modelId="{DE7E5952-8F38-4C15-BBC0-A95779E9EF38}">
      <dsp:nvSpPr>
        <dsp:cNvPr id="0" name=""/>
        <dsp:cNvSpPr/>
      </dsp:nvSpPr>
      <dsp:spPr>
        <a:xfrm>
          <a:off x="8330491" y="284580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dirty="0"/>
            <a:t>Feb: standard publication v. heavy.
April: entry into force v. medium.</a:t>
          </a:r>
        </a:p>
      </dsp:txBody>
      <dsp:txXfrm>
        <a:off x="8330491" y="2845800"/>
        <a:ext cx="1969783" cy="1532353"/>
      </dsp:txXfrm>
    </dsp:sp>
    <dsp:sp modelId="{B40660E7-480B-4517-8336-4F32C2822BE3}">
      <dsp:nvSpPr>
        <dsp:cNvPr id="0" name=""/>
        <dsp:cNvSpPr/>
      </dsp:nvSpPr>
      <dsp:spPr>
        <a:xfrm>
          <a:off x="9259658" y="2407984"/>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12D427F4-99AD-4AF6-848D-32B3B6C1983E}">
      <dsp:nvSpPr>
        <dsp:cNvPr id="0" name=""/>
        <dsp:cNvSpPr/>
      </dsp:nvSpPr>
      <dsp:spPr>
        <a:xfrm>
          <a:off x="9215877" y="2758237"/>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E58C29-08CA-4BD6-8750-F9DF2B5218E3}">
      <dsp:nvSpPr>
        <dsp:cNvPr id="0" name=""/>
        <dsp:cNvSpPr/>
      </dsp:nvSpPr>
      <dsp:spPr>
        <a:xfrm rot="5400000">
          <a:off x="10222621" y="1598141"/>
          <a:ext cx="437815" cy="1181870"/>
        </a:xfrm>
        <a:prstGeom prst="round2SameRect">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b="0" kern="1200"/>
            <a:t>2028</a:t>
          </a:r>
        </a:p>
      </dsp:txBody>
      <dsp:txXfrm rot="-5400000">
        <a:off x="9850594" y="1991540"/>
        <a:ext cx="1160498" cy="395071"/>
      </dsp:txXfrm>
    </dsp:sp>
    <dsp:sp modelId="{12B3EE98-8EA9-477D-94FC-AC58F05F5524}">
      <dsp:nvSpPr>
        <dsp:cNvPr id="0" name=""/>
        <dsp:cNvSpPr/>
      </dsp:nvSpPr>
      <dsp:spPr>
        <a:xfrm>
          <a:off x="9456637" y="0"/>
          <a:ext cx="1969783" cy="15323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b="0" kern="1200" dirty="0"/>
            <a:t>Deadline for entry into force of the heavy vehicle standard</a:t>
          </a:r>
        </a:p>
      </dsp:txBody>
      <dsp:txXfrm>
        <a:off x="9456637" y="0"/>
        <a:ext cx="1969783" cy="1532353"/>
      </dsp:txXfrm>
    </dsp:sp>
    <dsp:sp modelId="{89CC0DF3-1F74-4B31-A04D-4075AB915F19}">
      <dsp:nvSpPr>
        <dsp:cNvPr id="0" name=""/>
        <dsp:cNvSpPr/>
      </dsp:nvSpPr>
      <dsp:spPr>
        <a:xfrm>
          <a:off x="10441528" y="1619916"/>
          <a:ext cx="0" cy="350252"/>
        </a:xfrm>
        <a:prstGeom prst="line">
          <a:avLst/>
        </a:prstGeom>
        <a:noFill/>
        <a:ln w="6350" cap="flat" cmpd="sng" algn="ctr">
          <a:solidFill>
            <a:srgbClr val="00B050"/>
          </a:solidFill>
          <a:prstDash val="dash"/>
          <a:miter lim="800000"/>
        </a:ln>
        <a:effectLst/>
      </dsp:spPr>
      <dsp:style>
        <a:lnRef idx="1">
          <a:scrgbClr r="0" g="0" b="0"/>
        </a:lnRef>
        <a:fillRef idx="0">
          <a:scrgbClr r="0" g="0" b="0"/>
        </a:fillRef>
        <a:effectRef idx="0">
          <a:scrgbClr r="0" g="0" b="0"/>
        </a:effectRef>
        <a:fontRef idx="minor"/>
      </dsp:style>
    </dsp:sp>
    <dsp:sp modelId="{84C9B3F7-DF05-4119-B805-6C432BEE03A2}">
      <dsp:nvSpPr>
        <dsp:cNvPr id="0" name=""/>
        <dsp:cNvSpPr/>
      </dsp:nvSpPr>
      <dsp:spPr>
        <a:xfrm>
          <a:off x="10397747" y="1532353"/>
          <a:ext cx="87563" cy="87563"/>
        </a:xfrm>
        <a:prstGeom prst="ellipse">
          <a:avLst/>
        </a:prstGeom>
        <a:solidFill>
          <a:srgbClr val="00B050"/>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BC10CF-09EA-4461-9187-8D5FEC23C76D}">
      <dsp:nvSpPr>
        <dsp:cNvPr id="0" name=""/>
        <dsp:cNvSpPr/>
      </dsp:nvSpPr>
      <dsp:spPr>
        <a:xfrm>
          <a:off x="0" y="345243"/>
          <a:ext cx="4798243" cy="71505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L" sz="1800" kern="1200" dirty="0"/>
            <a:t>69.515 </a:t>
          </a:r>
          <a:r>
            <a:rPr lang="es-CL" sz="1800" kern="1200" dirty="0" err="1"/>
            <a:t>Vehicles</a:t>
          </a:r>
          <a:r>
            <a:rPr lang="es-CL" sz="1800" kern="1200" dirty="0"/>
            <a:t> </a:t>
          </a:r>
          <a:r>
            <a:rPr lang="es-CL" sz="1800" kern="1200" dirty="0" err="1"/>
            <a:t>marketed</a:t>
          </a:r>
          <a:endParaRPr lang="es-CL" sz="1800" kern="1200" dirty="0"/>
        </a:p>
      </dsp:txBody>
      <dsp:txXfrm>
        <a:off x="34906" y="380149"/>
        <a:ext cx="4728431" cy="645240"/>
      </dsp:txXfrm>
    </dsp:sp>
    <dsp:sp modelId="{BC6A78FD-EE2C-40DE-8974-6B20D7A8C789}">
      <dsp:nvSpPr>
        <dsp:cNvPr id="0" name=""/>
        <dsp:cNvSpPr/>
      </dsp:nvSpPr>
      <dsp:spPr>
        <a:xfrm>
          <a:off x="0" y="1112136"/>
          <a:ext cx="4798243" cy="71505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s-CL" sz="1800" kern="1200" dirty="0"/>
            <a:t>25 </a:t>
          </a:r>
          <a:r>
            <a:rPr lang="es-CL" sz="1800" kern="1200" dirty="0" err="1"/>
            <a:t>Importers</a:t>
          </a:r>
          <a:r>
            <a:rPr lang="es-CL" sz="1800" kern="1200" dirty="0"/>
            <a:t> in total</a:t>
          </a:r>
        </a:p>
      </dsp:txBody>
      <dsp:txXfrm>
        <a:off x="34906" y="1147042"/>
        <a:ext cx="4728431" cy="645240"/>
      </dsp:txXfrm>
    </dsp:sp>
    <dsp:sp modelId="{7B9E6B4B-5653-4461-8CEA-B00B7D291C82}">
      <dsp:nvSpPr>
        <dsp:cNvPr id="0" name=""/>
        <dsp:cNvSpPr/>
      </dsp:nvSpPr>
      <dsp:spPr>
        <a:xfrm>
          <a:off x="0" y="1879029"/>
          <a:ext cx="4798243" cy="71505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dirty="0"/>
            <a:t>8 importers meet the standard, accounting for 29% of sales in the period</a:t>
          </a:r>
          <a:endParaRPr lang="es-CL" sz="1800" b="0" kern="1200" dirty="0"/>
        </a:p>
      </dsp:txBody>
      <dsp:txXfrm>
        <a:off x="34906" y="1913935"/>
        <a:ext cx="4728431" cy="645240"/>
      </dsp:txXfrm>
    </dsp:sp>
    <dsp:sp modelId="{554E87F6-140E-4ADF-9FB6-81873D538A0B}">
      <dsp:nvSpPr>
        <dsp:cNvPr id="0" name=""/>
        <dsp:cNvSpPr/>
      </dsp:nvSpPr>
      <dsp:spPr>
        <a:xfrm>
          <a:off x="0" y="2645921"/>
          <a:ext cx="4798243" cy="715052"/>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dirty="0"/>
            <a:t>In 2021, only 3 importers complied, representing 6% of the year's sales</a:t>
          </a:r>
          <a:endParaRPr lang="es-CL" sz="1800" b="0" kern="1200" dirty="0"/>
        </a:p>
      </dsp:txBody>
      <dsp:txXfrm>
        <a:off x="34906" y="2680827"/>
        <a:ext cx="4728431" cy="64524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A48F4E-66D2-4609-8FDB-EB81B4037E0D}">
      <dsp:nvSpPr>
        <dsp:cNvPr id="0" name=""/>
        <dsp:cNvSpPr/>
      </dsp:nvSpPr>
      <dsp:spPr>
        <a:xfrm>
          <a:off x="974643" y="1287"/>
          <a:ext cx="2848956" cy="1709374"/>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CL" sz="2600" b="1" kern="1200" dirty="0"/>
            <a:t>69.515</a:t>
          </a:r>
        </a:p>
        <a:p>
          <a:pPr marL="0" lvl="0" indent="0" algn="ctr" defTabSz="1155700">
            <a:lnSpc>
              <a:spcPct val="90000"/>
            </a:lnSpc>
            <a:spcBef>
              <a:spcPct val="0"/>
            </a:spcBef>
            <a:spcAft>
              <a:spcPct val="35000"/>
            </a:spcAft>
            <a:buNone/>
          </a:pPr>
          <a:r>
            <a:rPr lang="en-US" sz="2400" kern="1200" dirty="0"/>
            <a:t>Total sales recorded in the first period</a:t>
          </a:r>
          <a:endParaRPr lang="es-CL" sz="2400" kern="1200" dirty="0"/>
        </a:p>
      </dsp:txBody>
      <dsp:txXfrm>
        <a:off x="974643" y="1287"/>
        <a:ext cx="2848956" cy="1709374"/>
      </dsp:txXfrm>
    </dsp:sp>
    <dsp:sp modelId="{328DCA42-13F3-44C0-BAF4-DB5A7EC0D4FE}">
      <dsp:nvSpPr>
        <dsp:cNvPr id="0" name=""/>
        <dsp:cNvSpPr/>
      </dsp:nvSpPr>
      <dsp:spPr>
        <a:xfrm>
          <a:off x="974643" y="1995556"/>
          <a:ext cx="2848956" cy="1709374"/>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CL" sz="2600" b="1" kern="1200" dirty="0"/>
            <a:t>19.916</a:t>
          </a:r>
        </a:p>
        <a:p>
          <a:pPr marL="0" lvl="0" indent="0" algn="ctr" defTabSz="1155700">
            <a:lnSpc>
              <a:spcPct val="90000"/>
            </a:lnSpc>
            <a:spcBef>
              <a:spcPct val="0"/>
            </a:spcBef>
            <a:spcAft>
              <a:spcPct val="35000"/>
            </a:spcAft>
            <a:buNone/>
          </a:pPr>
          <a:r>
            <a:rPr lang="en-US" sz="2400" kern="1200" dirty="0"/>
            <a:t>Sum of sales of importers that comply</a:t>
          </a:r>
          <a:endParaRPr lang="es-CL" sz="2400" kern="1200" dirty="0"/>
        </a:p>
      </dsp:txBody>
      <dsp:txXfrm>
        <a:off x="974643" y="1995556"/>
        <a:ext cx="2848956" cy="1709374"/>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7.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3E2E5757-E336-48FD-BBAF-5DEBCE1EA7A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id="{9FC73F3C-D8A2-4BDE-BE87-1921A4484E0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C2E5D5A-85BF-491C-87B9-8B4272A0FF78}" type="datetimeFigureOut">
              <a:rPr lang="es-CL" smtClean="0"/>
              <a:t>04-11-2024</a:t>
            </a:fld>
            <a:endParaRPr lang="es-CL"/>
          </a:p>
        </p:txBody>
      </p:sp>
      <p:sp>
        <p:nvSpPr>
          <p:cNvPr id="4" name="Marcador de pie de página 3">
            <a:extLst>
              <a:ext uri="{FF2B5EF4-FFF2-40B4-BE49-F238E27FC236}">
                <a16:creationId xmlns:a16="http://schemas.microsoft.com/office/drawing/2014/main" id="{6C8AA4F8-CD78-4732-9891-8913AF699E1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id="{FBFB1FA8-8C54-412A-8FE5-BDB4C55D231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730D10-045A-443E-BB0D-64AA7EC2B03C}" type="slidenum">
              <a:rPr lang="es-CL" smtClean="0"/>
              <a:t>‹Nº›</a:t>
            </a:fld>
            <a:endParaRPr lang="es-CL"/>
          </a:p>
        </p:txBody>
      </p:sp>
    </p:spTree>
    <p:extLst>
      <p:ext uri="{BB962C8B-B14F-4D97-AF65-F5344CB8AC3E}">
        <p14:creationId xmlns:p14="http://schemas.microsoft.com/office/powerpoint/2010/main" val="103523423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4396D3-FB93-4D13-9039-EADCEAEF3907}" type="datetimeFigureOut">
              <a:rPr lang="es-CL" smtClean="0"/>
              <a:t>04-11-2024</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8F7753-7EB6-4F6A-B15B-9CF1B8D8954A}" type="slidenum">
              <a:rPr lang="es-CL" smtClean="0"/>
              <a:t>‹Nº›</a:t>
            </a:fld>
            <a:endParaRPr lang="es-CL"/>
          </a:p>
        </p:txBody>
      </p:sp>
    </p:spTree>
    <p:extLst>
      <p:ext uri="{BB962C8B-B14F-4D97-AF65-F5344CB8AC3E}">
        <p14:creationId xmlns:p14="http://schemas.microsoft.com/office/powerpoint/2010/main" val="230272019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3</a:t>
            </a:fld>
            <a:endParaRPr lang="es-ES"/>
          </a:p>
        </p:txBody>
      </p:sp>
    </p:spTree>
    <p:extLst>
      <p:ext uri="{BB962C8B-B14F-4D97-AF65-F5344CB8AC3E}">
        <p14:creationId xmlns:p14="http://schemas.microsoft.com/office/powerpoint/2010/main" val="1974798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E0A3F-1454-6894-2CC6-C1092C175C9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CA9B4462-3ACB-7D6D-2518-DDCF430CEFB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B2369A8-D9C0-1207-FD6C-E87079FA217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a:extLst>
              <a:ext uri="{FF2B5EF4-FFF2-40B4-BE49-F238E27FC236}">
                <a16:creationId xmlns:a16="http://schemas.microsoft.com/office/drawing/2014/main" id="{AC5B714A-7B65-F3F9-8AF6-FAD242DFEBFE}"/>
              </a:ext>
            </a:extLst>
          </p:cNvPr>
          <p:cNvSpPr>
            <a:spLocks noGrp="1"/>
          </p:cNvSpPr>
          <p:nvPr>
            <p:ph type="sldNum" sz="quarter" idx="5"/>
          </p:nvPr>
        </p:nvSpPr>
        <p:spPr/>
        <p:txBody>
          <a:bodyPr/>
          <a:lstStyle/>
          <a:p>
            <a:fld id="{6E947520-7E81-D74F-98BC-90BAD165B97A}" type="slidenum">
              <a:rPr lang="es-ES" smtClean="0"/>
              <a:t>13</a:t>
            </a:fld>
            <a:endParaRPr lang="es-ES"/>
          </a:p>
        </p:txBody>
      </p:sp>
    </p:spTree>
    <p:extLst>
      <p:ext uri="{BB962C8B-B14F-4D97-AF65-F5344CB8AC3E}">
        <p14:creationId xmlns:p14="http://schemas.microsoft.com/office/powerpoint/2010/main" val="14280484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18</a:t>
            </a:fld>
            <a:endParaRPr lang="es-ES"/>
          </a:p>
        </p:txBody>
      </p:sp>
    </p:spTree>
    <p:extLst>
      <p:ext uri="{BB962C8B-B14F-4D97-AF65-F5344CB8AC3E}">
        <p14:creationId xmlns:p14="http://schemas.microsoft.com/office/powerpoint/2010/main" val="283871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19</a:t>
            </a:fld>
            <a:endParaRPr lang="es-ES"/>
          </a:p>
        </p:txBody>
      </p:sp>
    </p:spTree>
    <p:extLst>
      <p:ext uri="{BB962C8B-B14F-4D97-AF65-F5344CB8AC3E}">
        <p14:creationId xmlns:p14="http://schemas.microsoft.com/office/powerpoint/2010/main" val="19821958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20</a:t>
            </a:fld>
            <a:endParaRPr lang="es-ES"/>
          </a:p>
        </p:txBody>
      </p:sp>
    </p:spTree>
    <p:extLst>
      <p:ext uri="{BB962C8B-B14F-4D97-AF65-F5344CB8AC3E}">
        <p14:creationId xmlns:p14="http://schemas.microsoft.com/office/powerpoint/2010/main" val="30831444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21</a:t>
            </a:fld>
            <a:endParaRPr lang="es-ES"/>
          </a:p>
        </p:txBody>
      </p:sp>
    </p:spTree>
    <p:extLst>
      <p:ext uri="{BB962C8B-B14F-4D97-AF65-F5344CB8AC3E}">
        <p14:creationId xmlns:p14="http://schemas.microsoft.com/office/powerpoint/2010/main" val="3822365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22</a:t>
            </a:fld>
            <a:endParaRPr lang="es-ES"/>
          </a:p>
        </p:txBody>
      </p:sp>
    </p:spTree>
    <p:extLst>
      <p:ext uri="{BB962C8B-B14F-4D97-AF65-F5344CB8AC3E}">
        <p14:creationId xmlns:p14="http://schemas.microsoft.com/office/powerpoint/2010/main" val="6705664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23</a:t>
            </a:fld>
            <a:endParaRPr lang="es-ES"/>
          </a:p>
        </p:txBody>
      </p:sp>
    </p:spTree>
    <p:extLst>
      <p:ext uri="{BB962C8B-B14F-4D97-AF65-F5344CB8AC3E}">
        <p14:creationId xmlns:p14="http://schemas.microsoft.com/office/powerpoint/2010/main" val="3627933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24</a:t>
            </a:fld>
            <a:endParaRPr lang="es-ES"/>
          </a:p>
        </p:txBody>
      </p:sp>
    </p:spTree>
    <p:extLst>
      <p:ext uri="{BB962C8B-B14F-4D97-AF65-F5344CB8AC3E}">
        <p14:creationId xmlns:p14="http://schemas.microsoft.com/office/powerpoint/2010/main" val="3643672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25</a:t>
            </a:fld>
            <a:endParaRPr lang="es-ES"/>
          </a:p>
        </p:txBody>
      </p:sp>
    </p:spTree>
    <p:extLst>
      <p:ext uri="{BB962C8B-B14F-4D97-AF65-F5344CB8AC3E}">
        <p14:creationId xmlns:p14="http://schemas.microsoft.com/office/powerpoint/2010/main" val="23400643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26</a:t>
            </a:fld>
            <a:endParaRPr lang="es-ES"/>
          </a:p>
        </p:txBody>
      </p:sp>
    </p:spTree>
    <p:extLst>
      <p:ext uri="{BB962C8B-B14F-4D97-AF65-F5344CB8AC3E}">
        <p14:creationId xmlns:p14="http://schemas.microsoft.com/office/powerpoint/2010/main" val="3608107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93401-2331-475C-A279-0BD82B7E883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40FC337-F8F1-515D-BE0D-21C70B0F1FC6}"/>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7D98AFB-44F4-749F-BB0C-64C53C092F4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a:extLst>
              <a:ext uri="{FF2B5EF4-FFF2-40B4-BE49-F238E27FC236}">
                <a16:creationId xmlns:a16="http://schemas.microsoft.com/office/drawing/2014/main" id="{B52CE391-4A46-2FC4-A6B2-C52C368652F9}"/>
              </a:ext>
            </a:extLst>
          </p:cNvPr>
          <p:cNvSpPr>
            <a:spLocks noGrp="1"/>
          </p:cNvSpPr>
          <p:nvPr>
            <p:ph type="sldNum" sz="quarter" idx="5"/>
          </p:nvPr>
        </p:nvSpPr>
        <p:spPr/>
        <p:txBody>
          <a:bodyPr/>
          <a:lstStyle/>
          <a:p>
            <a:fld id="{6E947520-7E81-D74F-98BC-90BAD165B97A}" type="slidenum">
              <a:rPr lang="es-ES" smtClean="0"/>
              <a:t>4</a:t>
            </a:fld>
            <a:endParaRPr lang="es-ES"/>
          </a:p>
        </p:txBody>
      </p:sp>
    </p:spTree>
    <p:extLst>
      <p:ext uri="{BB962C8B-B14F-4D97-AF65-F5344CB8AC3E}">
        <p14:creationId xmlns:p14="http://schemas.microsoft.com/office/powerpoint/2010/main" val="579146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27</a:t>
            </a:fld>
            <a:endParaRPr lang="es-ES"/>
          </a:p>
        </p:txBody>
      </p:sp>
    </p:spTree>
    <p:extLst>
      <p:ext uri="{BB962C8B-B14F-4D97-AF65-F5344CB8AC3E}">
        <p14:creationId xmlns:p14="http://schemas.microsoft.com/office/powerpoint/2010/main" val="25104518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BB50E-381B-FEBE-8A37-CFDB88CA9F3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12CA098-8779-D5BC-BBB8-8E85157E5BD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F7640397-EC70-CDDC-B747-CA5119BA645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a:extLst>
              <a:ext uri="{FF2B5EF4-FFF2-40B4-BE49-F238E27FC236}">
                <a16:creationId xmlns:a16="http://schemas.microsoft.com/office/drawing/2014/main" id="{4538333E-9347-51EB-B201-FF95582D640E}"/>
              </a:ext>
            </a:extLst>
          </p:cNvPr>
          <p:cNvSpPr>
            <a:spLocks noGrp="1"/>
          </p:cNvSpPr>
          <p:nvPr>
            <p:ph type="sldNum" sz="quarter" idx="5"/>
          </p:nvPr>
        </p:nvSpPr>
        <p:spPr/>
        <p:txBody>
          <a:bodyPr/>
          <a:lstStyle/>
          <a:p>
            <a:fld id="{6E947520-7E81-D74F-98BC-90BAD165B97A}" type="slidenum">
              <a:rPr lang="es-ES" smtClean="0"/>
              <a:t>28</a:t>
            </a:fld>
            <a:endParaRPr lang="es-ES"/>
          </a:p>
        </p:txBody>
      </p:sp>
    </p:spTree>
    <p:extLst>
      <p:ext uri="{BB962C8B-B14F-4D97-AF65-F5344CB8AC3E}">
        <p14:creationId xmlns:p14="http://schemas.microsoft.com/office/powerpoint/2010/main" val="3488605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5</a:t>
            </a:fld>
            <a:endParaRPr lang="es-ES"/>
          </a:p>
        </p:txBody>
      </p:sp>
    </p:spTree>
    <p:extLst>
      <p:ext uri="{BB962C8B-B14F-4D97-AF65-F5344CB8AC3E}">
        <p14:creationId xmlns:p14="http://schemas.microsoft.com/office/powerpoint/2010/main" val="2921055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440CC-8FA3-779F-1FDC-748EE55FA5B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BEFAA8D-63ED-9890-565E-2262FC6C27B9}"/>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6E23AD92-7A4F-65BA-72C0-10B2F76690A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a:extLst>
              <a:ext uri="{FF2B5EF4-FFF2-40B4-BE49-F238E27FC236}">
                <a16:creationId xmlns:a16="http://schemas.microsoft.com/office/drawing/2014/main" id="{D8DBFFF1-F862-B790-EC10-0D69E544C008}"/>
              </a:ext>
            </a:extLst>
          </p:cNvPr>
          <p:cNvSpPr>
            <a:spLocks noGrp="1"/>
          </p:cNvSpPr>
          <p:nvPr>
            <p:ph type="sldNum" sz="quarter" idx="5"/>
          </p:nvPr>
        </p:nvSpPr>
        <p:spPr/>
        <p:txBody>
          <a:bodyPr/>
          <a:lstStyle/>
          <a:p>
            <a:fld id="{6E947520-7E81-D74F-98BC-90BAD165B97A}" type="slidenum">
              <a:rPr lang="es-ES" smtClean="0"/>
              <a:t>6</a:t>
            </a:fld>
            <a:endParaRPr lang="es-ES"/>
          </a:p>
        </p:txBody>
      </p:sp>
    </p:spTree>
    <p:extLst>
      <p:ext uri="{BB962C8B-B14F-4D97-AF65-F5344CB8AC3E}">
        <p14:creationId xmlns:p14="http://schemas.microsoft.com/office/powerpoint/2010/main" val="33660720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Tasa natural casi estanc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Mencionar que a pesar de que las marcas provienen de los países con altos rendimientos, acá en Chile llegan sin esas exigenci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L" sz="1200" kern="1200">
                <a:solidFill>
                  <a:schemeClr val="tx1"/>
                </a:solidFill>
                <a:effectLst/>
                <a:latin typeface="+mn-lt"/>
                <a:ea typeface="+mn-ea"/>
                <a:cs typeface="+mn-cs"/>
              </a:rPr>
              <a:t>Los datos evidencian que comparativamente, Chile (en rojo) es de los países con los promedios más altos y, por lo tanto, con peores rendimientos. A nivel Latinoamericano, Chile se encuentran solo por debajo de Perú (sin ninguna clase de regulación al respecto), pero por sobre países como Brasil y México, que ya han establecido estándares para este segmento.</a:t>
            </a:r>
          </a:p>
          <a:p>
            <a:endParaRPr lang="es-CL"/>
          </a:p>
          <a:p>
            <a:r>
              <a:rPr lang="es-CL" sz="1200" kern="1200">
                <a:solidFill>
                  <a:schemeClr val="tx1"/>
                </a:solidFill>
                <a:effectLst/>
                <a:latin typeface="+mn-lt"/>
                <a:ea typeface="+mn-ea"/>
                <a:cs typeface="+mn-cs"/>
              </a:rPr>
              <a:t>A la fecha, los rendimientos de entrada de los vehículos medianos de pasajeros en el mercado nacional están muy por debajo de Japón, EU, Corea del Sur y China, pero no tan distante del rendimiento observado en USA. Por otra parte, dadas las proyecciones de línea de base para Chile y las metas declaradas por estos países, estas diferencias se ven pronunciadas en el largo plazo, creando una brecha preocupante en el escenario de nula implementación de regulaciones para el rendimiento.</a:t>
            </a:r>
          </a:p>
          <a:p>
            <a:r>
              <a:rPr lang="es-CL" sz="1200" b="1" kern="1200">
                <a:solidFill>
                  <a:schemeClr val="tx1"/>
                </a:solidFill>
                <a:effectLst/>
                <a:latin typeface="+mn-lt"/>
                <a:ea typeface="+mn-ea"/>
                <a:cs typeface="+mn-cs"/>
              </a:rPr>
              <a:t>Para sintetizar, los antecedentes nacionales e internacionales permiten concluir qu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Chile presenta bajos rendimientos del parque vehicular nuevo al comparar con las principales economías que se hayan a la vanguardia, no obstante, similares rendimientos a los observados en USA. </a:t>
            </a:r>
            <a:endParaRPr lang="es-CL" sz="1200" kern="1200">
              <a:solidFill>
                <a:schemeClr val="tx1"/>
              </a:solidFill>
              <a:effectLst/>
              <a:latin typeface="+mn-lt"/>
              <a:ea typeface="+mn-ea"/>
              <a:cs typeface="+mn-cs"/>
            </a:endParaRPr>
          </a:p>
          <a:p>
            <a:r>
              <a:rPr lang="es-CL" sz="1200" b="1" kern="1200">
                <a:solidFill>
                  <a:schemeClr val="tx1"/>
                </a:solidFill>
                <a:effectLst/>
                <a:highlight>
                  <a:srgbClr val="FFFF00"/>
                </a:highlight>
                <a:latin typeface="+mn-lt"/>
                <a:ea typeface="+mn-ea"/>
                <a:cs typeface="+mn-cs"/>
              </a:rPr>
              <a:t>Las diferencias en el rendimiento energético podrían verse fuerte incrementadas en caso de no implementación de estándares de rendimiento. Mientras las principales economías tienen metas ambiciosas en esta materia, la tasa natural de mejora en Chile está casi estancada.</a:t>
            </a:r>
            <a:endParaRPr lang="es-CL" sz="1200" kern="1200">
              <a:solidFill>
                <a:schemeClr val="tx1"/>
              </a:solidFill>
              <a:effectLst/>
              <a:highlight>
                <a:srgbClr val="FFFF00"/>
              </a:highlight>
              <a:latin typeface="+mn-lt"/>
              <a:ea typeface="+mn-ea"/>
              <a:cs typeface="+mn-cs"/>
            </a:endParaRPr>
          </a:p>
          <a:p>
            <a:r>
              <a:rPr lang="es-CL" sz="1200" b="1" kern="1200">
                <a:solidFill>
                  <a:schemeClr val="tx1"/>
                </a:solidFill>
                <a:effectLst/>
                <a:latin typeface="+mn-lt"/>
                <a:ea typeface="+mn-ea"/>
                <a:cs typeface="+mn-cs"/>
              </a:rPr>
              <a:t>Los países de procedencia de importaciones del parque vehicular chileno cuentan con estándares de consumo, lo que garantiza que existen tecnologías de mayor eficiencia que pueden mejorar el rendimiento de vehículos medianos que ingresan al país.</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Pese a lo anterior estas tecnologías no ingresan actualmente al país, pues los importadores y marcas traen los autos de acuerdo a los reglamentos imperantes localmente.</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Dado lo anterior, el desarrollo de un estándar de consumo energético no implicaría desarrollar nueva tecnología. </a:t>
            </a:r>
            <a:endParaRPr lang="es-CL" sz="1200" kern="1200">
              <a:solidFill>
                <a:schemeClr val="tx1"/>
              </a:solidFill>
              <a:effectLst/>
              <a:latin typeface="+mn-lt"/>
              <a:ea typeface="+mn-ea"/>
              <a:cs typeface="+mn-cs"/>
            </a:endParaRPr>
          </a:p>
          <a:p>
            <a:r>
              <a:rPr lang="es-CL" sz="1200" b="1" kern="1200">
                <a:solidFill>
                  <a:schemeClr val="tx1"/>
                </a:solidFill>
                <a:effectLst/>
                <a:latin typeface="+mn-lt"/>
                <a:ea typeface="+mn-ea"/>
                <a:cs typeface="+mn-cs"/>
              </a:rPr>
              <a:t>Adicionalmente, la tecnología disponible en el país (3CV) y las medidas y legislación ya existente, tales como etiquetado y evaluación de ciclos de conducción, hacen factible establecer una meta para el rendimiento vehicular.</a:t>
            </a:r>
          </a:p>
          <a:p>
            <a:endParaRPr lang="es-CL"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a:solidFill>
                  <a:srgbClr val="000000"/>
                </a:solidFill>
                <a:latin typeface="Calibri" panose="020F0502020204030204" pitchFamily="34" charset="0"/>
              </a:rPr>
              <a:t>El establecimiento de metas de rendimiento (o emisiones) y la aplicación de estándares en estos mercados, sumado a una baja tasa natural de mejora del rendimiento en el mercado nacional (línea segmentada), resultará en una mayor diferencia de rendimientos en el futuro.​</a:t>
            </a:r>
            <a:endParaRPr lang="es-CL"/>
          </a:p>
          <a:p>
            <a:endParaRPr lang="es-CL" sz="1200" kern="1200">
              <a:solidFill>
                <a:schemeClr val="tx1"/>
              </a:solidFill>
              <a:effectLst/>
              <a:latin typeface="+mn-lt"/>
              <a:ea typeface="+mn-ea"/>
              <a:cs typeface="+mn-cs"/>
            </a:endParaRPr>
          </a:p>
          <a:p>
            <a:endParaRPr lang="es-CL"/>
          </a:p>
        </p:txBody>
      </p:sp>
      <p:sp>
        <p:nvSpPr>
          <p:cNvPr id="4" name="Marcador de número de diapositiva 3"/>
          <p:cNvSpPr>
            <a:spLocks noGrp="1"/>
          </p:cNvSpPr>
          <p:nvPr>
            <p:ph type="sldNum" sz="quarter" idx="5"/>
          </p:nvPr>
        </p:nvSpPr>
        <p:spPr/>
        <p:txBody>
          <a:bodyPr/>
          <a:lstStyle/>
          <a:p>
            <a:fld id="{6E947520-7E81-D74F-98BC-90BAD165B97A}" type="slidenum">
              <a:rPr lang="es-ES" smtClean="0"/>
              <a:t>7</a:t>
            </a:fld>
            <a:endParaRPr lang="es-ES"/>
          </a:p>
        </p:txBody>
      </p:sp>
    </p:spTree>
    <p:extLst>
      <p:ext uri="{BB962C8B-B14F-4D97-AF65-F5344CB8AC3E}">
        <p14:creationId xmlns:p14="http://schemas.microsoft.com/office/powerpoint/2010/main" val="1072044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1 Marcador de imagen de diapositiva"/>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2 Marcador de nota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s-ES" altLang="es-CL"/>
          </a:p>
        </p:txBody>
      </p:sp>
      <p:sp>
        <p:nvSpPr>
          <p:cNvPr id="25604" name="3 Marcador de número de diapositiva"/>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5C253E9-82F7-41F5-8184-66B2C6D412BC}" type="slidenum">
              <a:rPr lang="es-CL" altLang="es-CL"/>
              <a:pPr eaLnBrk="1" hangingPunct="1"/>
              <a:t>9</a:t>
            </a:fld>
            <a:endParaRPr lang="es-CL" altLang="es-CL"/>
          </a:p>
        </p:txBody>
      </p:sp>
    </p:spTree>
    <p:extLst>
      <p:ext uri="{BB962C8B-B14F-4D97-AF65-F5344CB8AC3E}">
        <p14:creationId xmlns:p14="http://schemas.microsoft.com/office/powerpoint/2010/main" val="2272559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1 Marcador de imagen de diapositiva"/>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2 Marcador de nota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s-ES" altLang="es-CL"/>
          </a:p>
        </p:txBody>
      </p:sp>
      <p:sp>
        <p:nvSpPr>
          <p:cNvPr id="25604" name="3 Marcador de número de diapositiva"/>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5C253E9-82F7-41F5-8184-66B2C6D412BC}" type="slidenum">
              <a:rPr lang="es-CL" altLang="es-CL"/>
              <a:pPr eaLnBrk="1" hangingPunct="1"/>
              <a:t>10</a:t>
            </a:fld>
            <a:endParaRPr lang="es-CL" altLang="es-CL"/>
          </a:p>
        </p:txBody>
      </p:sp>
    </p:spTree>
    <p:extLst>
      <p:ext uri="{BB962C8B-B14F-4D97-AF65-F5344CB8AC3E}">
        <p14:creationId xmlns:p14="http://schemas.microsoft.com/office/powerpoint/2010/main" val="600925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1 Marcador de imagen de diapositiva"/>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2 Marcador de nota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s-ES" altLang="es-CL"/>
          </a:p>
        </p:txBody>
      </p:sp>
      <p:sp>
        <p:nvSpPr>
          <p:cNvPr id="25604" name="3 Marcador de número de diapositiva"/>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5C253E9-82F7-41F5-8184-66B2C6D412BC}" type="slidenum">
              <a:rPr lang="es-CL" altLang="es-CL"/>
              <a:pPr eaLnBrk="1" hangingPunct="1"/>
              <a:t>11</a:t>
            </a:fld>
            <a:endParaRPr lang="es-CL" altLang="es-CL"/>
          </a:p>
        </p:txBody>
      </p:sp>
    </p:spTree>
    <p:extLst>
      <p:ext uri="{BB962C8B-B14F-4D97-AF65-F5344CB8AC3E}">
        <p14:creationId xmlns:p14="http://schemas.microsoft.com/office/powerpoint/2010/main" val="2939261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396875" y="692150"/>
            <a:ext cx="6156325" cy="3463925"/>
          </a:xfrm>
        </p:spPr>
      </p:sp>
      <p:sp>
        <p:nvSpPr>
          <p:cNvPr id="3" name="2 Marcador de notas"/>
          <p:cNvSpPr>
            <a:spLocks noGrp="1"/>
          </p:cNvSpPr>
          <p:nvPr>
            <p:ph type="body" idx="1"/>
          </p:nvPr>
        </p:nvSpPr>
        <p:spPr/>
        <p:txBody>
          <a:bodyPr/>
          <a:lstStyle/>
          <a:p>
            <a:pPr defTabSz="924916">
              <a:defRPr/>
            </a:pPr>
            <a:endParaRPr lang="es-CL" b="1"/>
          </a:p>
        </p:txBody>
      </p:sp>
      <p:sp>
        <p:nvSpPr>
          <p:cNvPr id="4" name="3 Marcador de número de diapositiva"/>
          <p:cNvSpPr>
            <a:spLocks noGrp="1"/>
          </p:cNvSpPr>
          <p:nvPr>
            <p:ph type="sldNum" sz="quarter" idx="10"/>
          </p:nvPr>
        </p:nvSpPr>
        <p:spPr/>
        <p:txBody>
          <a:bodyPr/>
          <a:lstStyle/>
          <a:p>
            <a:fld id="{2E6CCE99-AFF0-44C3-BAE5-566D59CF30FC}" type="slidenum">
              <a:rPr lang="es-CL" smtClean="0"/>
              <a:t>12</a:t>
            </a:fld>
            <a:endParaRPr lang="es-CL"/>
          </a:p>
        </p:txBody>
      </p:sp>
    </p:spTree>
    <p:extLst>
      <p:ext uri="{BB962C8B-B14F-4D97-AF65-F5344CB8AC3E}">
        <p14:creationId xmlns:p14="http://schemas.microsoft.com/office/powerpoint/2010/main" val="508595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50FA9CE-DBE5-49FF-9832-17BE7FA4124F}"/>
              </a:ext>
            </a:extLst>
          </p:cNvPr>
          <p:cNvSpPr/>
          <p:nvPr/>
        </p:nvSpPr>
        <p:spPr>
          <a:xfrm>
            <a:off x="623888" y="2845938"/>
            <a:ext cx="5472112" cy="37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rgbClr val="354B6D"/>
              </a:solidFill>
            </a:endParaRPr>
          </a:p>
        </p:txBody>
      </p:sp>
      <p:pic>
        <p:nvPicPr>
          <p:cNvPr id="11" name="Imagen 10">
            <a:extLst>
              <a:ext uri="{FF2B5EF4-FFF2-40B4-BE49-F238E27FC236}">
                <a16:creationId xmlns:a16="http://schemas.microsoft.com/office/drawing/2014/main" id="{6E298771-C716-4611-8642-C70AB80A85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1406" y="3055356"/>
            <a:ext cx="1368000" cy="1317517"/>
          </a:xfrm>
          <a:prstGeom prst="rect">
            <a:avLst/>
          </a:prstGeom>
        </p:spPr>
      </p:pic>
      <p:sp>
        <p:nvSpPr>
          <p:cNvPr id="3" name="Subtítulo 2">
            <a:extLst>
              <a:ext uri="{FF2B5EF4-FFF2-40B4-BE49-F238E27FC236}">
                <a16:creationId xmlns:a16="http://schemas.microsoft.com/office/drawing/2014/main" id="{EBF92673-24A0-4AC2-B19C-9365817272C4}"/>
              </a:ext>
            </a:extLst>
          </p:cNvPr>
          <p:cNvSpPr>
            <a:spLocks noGrp="1"/>
          </p:cNvSpPr>
          <p:nvPr userDrawn="1">
            <p:ph type="subTitle" idx="1"/>
          </p:nvPr>
        </p:nvSpPr>
        <p:spPr>
          <a:xfrm>
            <a:off x="911407" y="5312569"/>
            <a:ext cx="4740075" cy="679782"/>
          </a:xfr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2" name="Título 1">
            <a:extLst>
              <a:ext uri="{FF2B5EF4-FFF2-40B4-BE49-F238E27FC236}">
                <a16:creationId xmlns:a16="http://schemas.microsoft.com/office/drawing/2014/main" id="{DCAFB713-40D8-4950-AFB0-4B603BB02678}"/>
              </a:ext>
            </a:extLst>
          </p:cNvPr>
          <p:cNvSpPr>
            <a:spLocks noGrp="1"/>
          </p:cNvSpPr>
          <p:nvPr userDrawn="1">
            <p:ph type="ctrTitle" hasCustomPrompt="1"/>
          </p:nvPr>
        </p:nvSpPr>
        <p:spPr>
          <a:xfrm>
            <a:off x="911406" y="4582291"/>
            <a:ext cx="4740075" cy="679782"/>
          </a:xfrm>
        </p:spPr>
        <p:txBody>
          <a:bodyPr anchor="b">
            <a:normAutofit/>
          </a:bodyPr>
          <a:lstStyle>
            <a:lvl1pPr algn="l">
              <a:defRPr sz="4000" b="1">
                <a:solidFill>
                  <a:schemeClr val="bg1"/>
                </a:solidFill>
              </a:defRPr>
            </a:lvl1pPr>
          </a:lstStyle>
          <a:p>
            <a:r>
              <a:rPr lang="es-ES"/>
              <a:t>Título</a:t>
            </a:r>
            <a:endParaRPr lang="es-CL"/>
          </a:p>
        </p:txBody>
      </p:sp>
      <p:sp>
        <p:nvSpPr>
          <p:cNvPr id="13" name="Marcador de texto 12">
            <a:extLst>
              <a:ext uri="{FF2B5EF4-FFF2-40B4-BE49-F238E27FC236}">
                <a16:creationId xmlns:a16="http://schemas.microsoft.com/office/drawing/2014/main" id="{5971B7EB-4A56-48BB-B6F0-2EF8DAEA3732}"/>
              </a:ext>
            </a:extLst>
          </p:cNvPr>
          <p:cNvSpPr>
            <a:spLocks noGrp="1"/>
          </p:cNvSpPr>
          <p:nvPr>
            <p:ph type="body" sz="quarter" idx="10" hasCustomPrompt="1"/>
          </p:nvPr>
        </p:nvSpPr>
        <p:spPr>
          <a:xfrm>
            <a:off x="911407" y="6125932"/>
            <a:ext cx="4178268" cy="301625"/>
          </a:xfrm>
        </p:spPr>
        <p:txBody>
          <a:bodyPr>
            <a:noAutofit/>
          </a:bodyPr>
          <a:lstStyle>
            <a:lvl1pPr marL="0" indent="0">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s-ES"/>
              <a:t>Mes año</a:t>
            </a:r>
          </a:p>
        </p:txBody>
      </p:sp>
    </p:spTree>
    <p:extLst>
      <p:ext uri="{BB962C8B-B14F-4D97-AF65-F5344CB8AC3E}">
        <p14:creationId xmlns:p14="http://schemas.microsoft.com/office/powerpoint/2010/main" val="3301667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5_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9 Rectángulo">
            <a:extLst>
              <a:ext uri="{FF2B5EF4-FFF2-40B4-BE49-F238E27FC236}">
                <a16:creationId xmlns:a16="http://schemas.microsoft.com/office/drawing/2014/main" id="{9A0EDD26-80D7-4D43-989E-EAD12D461109}"/>
              </a:ext>
            </a:extLst>
          </p:cNvPr>
          <p:cNvSpPr/>
          <p:nvPr userDrawn="1"/>
        </p:nvSpPr>
        <p:spPr>
          <a:xfrm>
            <a:off x="1982224" y="3433378"/>
            <a:ext cx="8136904" cy="3528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09585" fontAlgn="base">
              <a:spcBef>
                <a:spcPct val="0"/>
              </a:spcBef>
              <a:spcAft>
                <a:spcPct val="0"/>
              </a:spcAft>
              <a:defRPr/>
            </a:pPr>
            <a:r>
              <a:rPr lang="es-CL" sz="2800">
                <a:solidFill>
                  <a:prstClr val="black"/>
                </a:solidFill>
                <a:latin typeface="Bebas Neue Book" panose="00000500000000000000" pitchFamily="2" charset="0"/>
                <a:cs typeface="Arial" panose="020B0604020202020204" pitchFamily="34" charset="0"/>
              </a:rPr>
              <a:t> </a:t>
            </a:r>
          </a:p>
          <a:p>
            <a:pPr defTabSz="609585" fontAlgn="base">
              <a:spcBef>
                <a:spcPct val="0"/>
              </a:spcBef>
              <a:spcAft>
                <a:spcPct val="0"/>
              </a:spcAft>
              <a:defRPr/>
            </a:pPr>
            <a:endParaRPr lang="es-CL" sz="2800">
              <a:solidFill>
                <a:prstClr val="black"/>
              </a:solidFill>
              <a:latin typeface="Bebas Neue Book" panose="00000500000000000000" pitchFamily="2" charset="0"/>
              <a:cs typeface="Arial" panose="020B0604020202020204" pitchFamily="34" charset="0"/>
            </a:endParaRPr>
          </a:p>
        </p:txBody>
      </p:sp>
      <p:sp>
        <p:nvSpPr>
          <p:cNvPr id="7" name="Rectángulo 6">
            <a:extLst>
              <a:ext uri="{FF2B5EF4-FFF2-40B4-BE49-F238E27FC236}">
                <a16:creationId xmlns:a16="http://schemas.microsoft.com/office/drawing/2014/main" id="{41165974-6E5E-422E-928B-D8597B511C63}"/>
              </a:ext>
            </a:extLst>
          </p:cNvPr>
          <p:cNvSpPr/>
          <p:nvPr userDrawn="1"/>
        </p:nvSpPr>
        <p:spPr>
          <a:xfrm>
            <a:off x="1762653" y="3289362"/>
            <a:ext cx="8644507" cy="1938992"/>
          </a:xfrm>
          <a:prstGeom prst="rect">
            <a:avLst/>
          </a:prstGeom>
        </p:spPr>
        <p:txBody>
          <a:bodyPr wrap="square">
            <a:spAutoFit/>
          </a:bodyPr>
          <a:lstStyle/>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p:txBody>
      </p:sp>
      <p:sp>
        <p:nvSpPr>
          <p:cNvPr id="3" name="Marcador de texto 2">
            <a:extLst>
              <a:ext uri="{FF2B5EF4-FFF2-40B4-BE49-F238E27FC236}">
                <a16:creationId xmlns:a16="http://schemas.microsoft.com/office/drawing/2014/main" id="{E1DC6DA5-BE72-4291-89B7-90C89B37E603}"/>
              </a:ext>
            </a:extLst>
          </p:cNvPr>
          <p:cNvSpPr>
            <a:spLocks noGrp="1"/>
          </p:cNvSpPr>
          <p:nvPr>
            <p:ph type="body" sz="quarter" idx="10"/>
          </p:nvPr>
        </p:nvSpPr>
        <p:spPr>
          <a:xfrm>
            <a:off x="6096000" y="3433763"/>
            <a:ext cx="5472113" cy="3127375"/>
          </a:xfrm>
        </p:spPr>
        <p:txBody>
          <a:bodyPr anchor="b"/>
          <a:lstStyle>
            <a:lvl1pPr marL="0" indent="0" algn="r">
              <a:buNone/>
              <a:defRPr b="0">
                <a:solidFill>
                  <a:schemeClr val="bg1"/>
                </a:solidFill>
              </a:defRPr>
            </a:lvl1pPr>
            <a:lvl2pPr marL="457200" indent="0" algn="r">
              <a:buNone/>
              <a:defRPr b="0">
                <a:solidFill>
                  <a:schemeClr val="bg1"/>
                </a:solidFill>
              </a:defRPr>
            </a:lvl2pPr>
            <a:lvl3pPr marL="914400" indent="0" algn="r">
              <a:buNone/>
              <a:defRPr b="0">
                <a:solidFill>
                  <a:schemeClr val="bg1"/>
                </a:solidFill>
              </a:defRPr>
            </a:lvl3pPr>
            <a:lvl4pPr marL="1371600" indent="0" algn="r">
              <a:buNone/>
              <a:defRPr b="0">
                <a:solidFill>
                  <a:schemeClr val="bg1"/>
                </a:solidFill>
              </a:defRPr>
            </a:lvl4pPr>
            <a:lvl5pPr marL="1828800" indent="0" algn="r">
              <a:buNone/>
              <a:defRPr b="0">
                <a:solidFill>
                  <a:schemeClr val="bg1"/>
                </a:solidFill>
              </a:defRPr>
            </a:lvl5pPr>
          </a:lstStyle>
          <a:p>
            <a:pPr lvl="0"/>
            <a:r>
              <a:rPr lang="es-ES"/>
              <a:t>Haga clic para modificar los estilos de texto del patrón</a:t>
            </a:r>
          </a:p>
        </p:txBody>
      </p:sp>
      <p:sp>
        <p:nvSpPr>
          <p:cNvPr id="8" name="Marcador de texto 4">
            <a:extLst>
              <a:ext uri="{FF2B5EF4-FFF2-40B4-BE49-F238E27FC236}">
                <a16:creationId xmlns:a16="http://schemas.microsoft.com/office/drawing/2014/main" id="{FE48094C-A25F-4C7B-88C1-D58D2AF4F95A}"/>
              </a:ext>
            </a:extLst>
          </p:cNvPr>
          <p:cNvSpPr>
            <a:spLocks noGrp="1"/>
          </p:cNvSpPr>
          <p:nvPr>
            <p:ph type="body" sz="quarter" idx="11" hasCustomPrompt="1"/>
          </p:nvPr>
        </p:nvSpPr>
        <p:spPr>
          <a:xfrm>
            <a:off x="623888" y="90536"/>
            <a:ext cx="9495240" cy="961978"/>
          </a:xfrm>
        </p:spPr>
        <p:txBody>
          <a:bodyPr anchor="b">
            <a:noAutofit/>
          </a:bodyPr>
          <a:lstStyle>
            <a:lvl1pPr marL="0" indent="0">
              <a:buNone/>
              <a:defRPr sz="3200" b="1">
                <a:latin typeface="+mj-lt"/>
              </a:defRPr>
            </a:lvl1pPr>
            <a:lvl2pPr marL="457200" indent="0">
              <a:buNone/>
              <a:defRPr sz="3200">
                <a:latin typeface="+mj-lt"/>
              </a:defRPr>
            </a:lvl2pPr>
            <a:lvl3pPr marL="914400" indent="0">
              <a:buNone/>
              <a:defRPr sz="3200">
                <a:latin typeface="+mj-lt"/>
              </a:defRPr>
            </a:lvl3pPr>
            <a:lvl4pPr marL="1371600" indent="0">
              <a:buNone/>
              <a:defRPr sz="3200">
                <a:latin typeface="+mj-lt"/>
              </a:defRPr>
            </a:lvl4pPr>
            <a:lvl5pPr marL="1828800" indent="0">
              <a:buNone/>
              <a:defRPr sz="3200">
                <a:latin typeface="+mj-lt"/>
              </a:defRPr>
            </a:lvl5pPr>
          </a:lstStyle>
          <a:p>
            <a:pPr lvl="0"/>
            <a:r>
              <a:rPr lang="es-ES"/>
              <a:t>Título de la diapositiva</a:t>
            </a:r>
            <a:endParaRPr lang="es-CL"/>
          </a:p>
        </p:txBody>
      </p:sp>
    </p:spTree>
    <p:extLst>
      <p:ext uri="{BB962C8B-B14F-4D97-AF65-F5344CB8AC3E}">
        <p14:creationId xmlns:p14="http://schemas.microsoft.com/office/powerpoint/2010/main" val="2696884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6_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9 Rectángulo">
            <a:extLst>
              <a:ext uri="{FF2B5EF4-FFF2-40B4-BE49-F238E27FC236}">
                <a16:creationId xmlns:a16="http://schemas.microsoft.com/office/drawing/2014/main" id="{9A0EDD26-80D7-4D43-989E-EAD12D461109}"/>
              </a:ext>
            </a:extLst>
          </p:cNvPr>
          <p:cNvSpPr/>
          <p:nvPr userDrawn="1"/>
        </p:nvSpPr>
        <p:spPr>
          <a:xfrm>
            <a:off x="1982224" y="3433378"/>
            <a:ext cx="8136904" cy="3528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09585" fontAlgn="base">
              <a:spcBef>
                <a:spcPct val="0"/>
              </a:spcBef>
              <a:spcAft>
                <a:spcPct val="0"/>
              </a:spcAft>
              <a:defRPr/>
            </a:pPr>
            <a:r>
              <a:rPr lang="es-CL" sz="2800">
                <a:solidFill>
                  <a:prstClr val="black"/>
                </a:solidFill>
                <a:latin typeface="Bebas Neue Book" panose="00000500000000000000" pitchFamily="2" charset="0"/>
                <a:cs typeface="Arial" panose="020B0604020202020204" pitchFamily="34" charset="0"/>
              </a:rPr>
              <a:t> </a:t>
            </a:r>
          </a:p>
          <a:p>
            <a:pPr defTabSz="609585" fontAlgn="base">
              <a:spcBef>
                <a:spcPct val="0"/>
              </a:spcBef>
              <a:spcAft>
                <a:spcPct val="0"/>
              </a:spcAft>
              <a:defRPr/>
            </a:pPr>
            <a:endParaRPr lang="es-CL" sz="2800">
              <a:solidFill>
                <a:prstClr val="black"/>
              </a:solidFill>
              <a:latin typeface="Bebas Neue Book" panose="00000500000000000000" pitchFamily="2" charset="0"/>
              <a:cs typeface="Arial" panose="020B0604020202020204" pitchFamily="34" charset="0"/>
            </a:endParaRPr>
          </a:p>
        </p:txBody>
      </p:sp>
      <p:sp>
        <p:nvSpPr>
          <p:cNvPr id="7" name="Rectángulo 6">
            <a:extLst>
              <a:ext uri="{FF2B5EF4-FFF2-40B4-BE49-F238E27FC236}">
                <a16:creationId xmlns:a16="http://schemas.microsoft.com/office/drawing/2014/main" id="{41165974-6E5E-422E-928B-D8597B511C63}"/>
              </a:ext>
            </a:extLst>
          </p:cNvPr>
          <p:cNvSpPr/>
          <p:nvPr userDrawn="1"/>
        </p:nvSpPr>
        <p:spPr>
          <a:xfrm>
            <a:off x="1762653" y="3289362"/>
            <a:ext cx="8644507" cy="1938992"/>
          </a:xfrm>
          <a:prstGeom prst="rect">
            <a:avLst/>
          </a:prstGeom>
        </p:spPr>
        <p:txBody>
          <a:bodyPr wrap="square">
            <a:spAutoFit/>
          </a:bodyPr>
          <a:lstStyle/>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p:txBody>
      </p:sp>
      <p:sp>
        <p:nvSpPr>
          <p:cNvPr id="3" name="Marcador de texto 2">
            <a:extLst>
              <a:ext uri="{FF2B5EF4-FFF2-40B4-BE49-F238E27FC236}">
                <a16:creationId xmlns:a16="http://schemas.microsoft.com/office/drawing/2014/main" id="{E1DC6DA5-BE72-4291-89B7-90C89B37E603}"/>
              </a:ext>
            </a:extLst>
          </p:cNvPr>
          <p:cNvSpPr>
            <a:spLocks noGrp="1"/>
          </p:cNvSpPr>
          <p:nvPr>
            <p:ph type="body" sz="quarter" idx="10"/>
          </p:nvPr>
        </p:nvSpPr>
        <p:spPr>
          <a:xfrm>
            <a:off x="6096000" y="3433763"/>
            <a:ext cx="5472113" cy="3127375"/>
          </a:xfrm>
        </p:spPr>
        <p:txBody>
          <a:bodyPr anchor="b"/>
          <a:lstStyle>
            <a:lvl1pPr marL="0" indent="0" algn="r">
              <a:buNone/>
              <a:defRPr b="0">
                <a:solidFill>
                  <a:schemeClr val="bg1"/>
                </a:solidFill>
              </a:defRPr>
            </a:lvl1pPr>
            <a:lvl2pPr marL="457200" indent="0" algn="r">
              <a:buNone/>
              <a:defRPr b="0">
                <a:solidFill>
                  <a:schemeClr val="bg1"/>
                </a:solidFill>
              </a:defRPr>
            </a:lvl2pPr>
            <a:lvl3pPr marL="914400" indent="0" algn="r">
              <a:buNone/>
              <a:defRPr b="0">
                <a:solidFill>
                  <a:schemeClr val="bg1"/>
                </a:solidFill>
              </a:defRPr>
            </a:lvl3pPr>
            <a:lvl4pPr marL="1371600" indent="0" algn="r">
              <a:buNone/>
              <a:defRPr b="0">
                <a:solidFill>
                  <a:schemeClr val="bg1"/>
                </a:solidFill>
              </a:defRPr>
            </a:lvl4pPr>
            <a:lvl5pPr marL="1828800" indent="0" algn="r">
              <a:buNone/>
              <a:defRPr b="0">
                <a:solidFill>
                  <a:schemeClr val="bg1"/>
                </a:solidFill>
              </a:defRPr>
            </a:lvl5pPr>
          </a:lstStyle>
          <a:p>
            <a:pPr lvl="0"/>
            <a:r>
              <a:rPr lang="es-ES"/>
              <a:t>Haga clic para modificar los estilos de texto del patrón</a:t>
            </a:r>
          </a:p>
        </p:txBody>
      </p:sp>
      <p:sp>
        <p:nvSpPr>
          <p:cNvPr id="8" name="Marcador de texto 4">
            <a:extLst>
              <a:ext uri="{FF2B5EF4-FFF2-40B4-BE49-F238E27FC236}">
                <a16:creationId xmlns:a16="http://schemas.microsoft.com/office/drawing/2014/main" id="{0801B699-D70E-4723-97C0-274DB82DF8E9}"/>
              </a:ext>
            </a:extLst>
          </p:cNvPr>
          <p:cNvSpPr>
            <a:spLocks noGrp="1"/>
          </p:cNvSpPr>
          <p:nvPr>
            <p:ph type="body" sz="quarter" idx="11" hasCustomPrompt="1"/>
          </p:nvPr>
        </p:nvSpPr>
        <p:spPr>
          <a:xfrm>
            <a:off x="623888" y="90536"/>
            <a:ext cx="9495240" cy="961978"/>
          </a:xfrm>
        </p:spPr>
        <p:txBody>
          <a:bodyPr anchor="b">
            <a:noAutofit/>
          </a:bodyPr>
          <a:lstStyle>
            <a:lvl1pPr marL="0" indent="0">
              <a:buNone/>
              <a:defRPr sz="3200" b="1">
                <a:solidFill>
                  <a:schemeClr val="bg1"/>
                </a:solidFill>
                <a:latin typeface="+mj-lt"/>
              </a:defRPr>
            </a:lvl1pPr>
            <a:lvl2pPr marL="457200" indent="0">
              <a:buNone/>
              <a:defRPr sz="3200">
                <a:latin typeface="+mj-lt"/>
              </a:defRPr>
            </a:lvl2pPr>
            <a:lvl3pPr marL="914400" indent="0">
              <a:buNone/>
              <a:defRPr sz="3200">
                <a:latin typeface="+mj-lt"/>
              </a:defRPr>
            </a:lvl3pPr>
            <a:lvl4pPr marL="1371600" indent="0">
              <a:buNone/>
              <a:defRPr sz="3200">
                <a:latin typeface="+mj-lt"/>
              </a:defRPr>
            </a:lvl4pPr>
            <a:lvl5pPr marL="1828800" indent="0">
              <a:buNone/>
              <a:defRPr sz="3200">
                <a:latin typeface="+mj-lt"/>
              </a:defRPr>
            </a:lvl5pPr>
          </a:lstStyle>
          <a:p>
            <a:pPr lvl="0"/>
            <a:r>
              <a:rPr lang="es-ES"/>
              <a:t>Título de la diapositiva</a:t>
            </a:r>
            <a:endParaRPr lang="es-CL"/>
          </a:p>
        </p:txBody>
      </p:sp>
    </p:spTree>
    <p:extLst>
      <p:ext uri="{BB962C8B-B14F-4D97-AF65-F5344CB8AC3E}">
        <p14:creationId xmlns:p14="http://schemas.microsoft.com/office/powerpoint/2010/main" val="14427377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44A07086-F3B5-4DEB-B78A-5C39A44FF225}"/>
              </a:ext>
            </a:extLst>
          </p:cNvPr>
          <p:cNvSpPr>
            <a:spLocks noGrp="1"/>
          </p:cNvSpPr>
          <p:nvPr>
            <p:ph type="dt" sz="half" idx="10"/>
          </p:nvPr>
        </p:nvSpPr>
        <p:spPr/>
        <p:txBody>
          <a:bodyPr/>
          <a:lstStyle/>
          <a:p>
            <a:fld id="{1ECAFB22-9B15-4AB4-8030-6A2A5307BCAA}" type="datetime1">
              <a:rPr lang="es-CL" smtClean="0"/>
              <a:t>04-11-2024</a:t>
            </a:fld>
            <a:endParaRPr lang="es-CL"/>
          </a:p>
        </p:txBody>
      </p:sp>
      <p:sp>
        <p:nvSpPr>
          <p:cNvPr id="3" name="Marcador de pie de página 2">
            <a:extLst>
              <a:ext uri="{FF2B5EF4-FFF2-40B4-BE49-F238E27FC236}">
                <a16:creationId xmlns:a16="http://schemas.microsoft.com/office/drawing/2014/main" id="{888EB2DA-DCBF-4EE0-9742-EC0671829BFF}"/>
              </a:ext>
            </a:extLst>
          </p:cNvPr>
          <p:cNvSpPr>
            <a:spLocks noGrp="1"/>
          </p:cNvSpPr>
          <p:nvPr>
            <p:ph type="ftr" sz="quarter" idx="11"/>
          </p:nvPr>
        </p:nvSpPr>
        <p:spPr/>
        <p:txBody>
          <a:bodyPr/>
          <a:lstStyle/>
          <a:p>
            <a:r>
              <a:rPr lang="es-CL"/>
              <a:t>Transporte sostenible - División de Energías Sostenibles</a:t>
            </a:r>
          </a:p>
        </p:txBody>
      </p:sp>
      <p:sp>
        <p:nvSpPr>
          <p:cNvPr id="4" name="Marcador de número de diapositiva 3">
            <a:extLst>
              <a:ext uri="{FF2B5EF4-FFF2-40B4-BE49-F238E27FC236}">
                <a16:creationId xmlns:a16="http://schemas.microsoft.com/office/drawing/2014/main" id="{4DB12E65-6DD0-4556-8D16-2E4266BDFF1E}"/>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
        <p:nvSpPr>
          <p:cNvPr id="5" name="Rectángulo 4">
            <a:extLst>
              <a:ext uri="{FF2B5EF4-FFF2-40B4-BE49-F238E27FC236}">
                <a16:creationId xmlns:a16="http://schemas.microsoft.com/office/drawing/2014/main" id="{F86D47D7-0D6E-40FA-95A1-07A44178E8AA}"/>
              </a:ext>
            </a:extLst>
          </p:cNvPr>
          <p:cNvSpPr/>
          <p:nvPr userDrawn="1"/>
        </p:nvSpPr>
        <p:spPr>
          <a:xfrm>
            <a:off x="623888" y="1341437"/>
            <a:ext cx="10944223" cy="42211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7" name="Marcador de texto 6">
            <a:extLst>
              <a:ext uri="{FF2B5EF4-FFF2-40B4-BE49-F238E27FC236}">
                <a16:creationId xmlns:a16="http://schemas.microsoft.com/office/drawing/2014/main" id="{C39D869A-614C-4E8C-9F24-73C1030648BD}"/>
              </a:ext>
            </a:extLst>
          </p:cNvPr>
          <p:cNvSpPr>
            <a:spLocks noGrp="1"/>
          </p:cNvSpPr>
          <p:nvPr>
            <p:ph type="body" sz="quarter" idx="13"/>
          </p:nvPr>
        </p:nvSpPr>
        <p:spPr>
          <a:xfrm>
            <a:off x="895350" y="1447800"/>
            <a:ext cx="10382250" cy="3990975"/>
          </a:xfrm>
        </p:spPr>
        <p:txBody>
          <a:bodyPr>
            <a:normAutofit/>
          </a:bodyPr>
          <a:lstStyle>
            <a:lvl1pPr marL="266700" indent="-228600">
              <a:defRPr sz="3200">
                <a:solidFill>
                  <a:schemeClr val="bg1"/>
                </a:solidFill>
              </a:defRPr>
            </a:lvl1pPr>
            <a:lvl2pPr>
              <a:defRPr sz="2800">
                <a:solidFill>
                  <a:schemeClr val="bg1"/>
                </a:solidFill>
              </a:defRPr>
            </a:lvl2pPr>
            <a:lvl3pPr>
              <a:defRPr sz="2400">
                <a:solidFill>
                  <a:schemeClr val="bg1"/>
                </a:solidFill>
              </a:defRPr>
            </a:lvl3pPr>
            <a:lvl4pPr>
              <a:defRPr sz="2000">
                <a:solidFill>
                  <a:schemeClr val="bg1"/>
                </a:solidFill>
              </a:defRPr>
            </a:lvl4pPr>
            <a:lvl5pPr>
              <a:defRPr sz="2000">
                <a:solidFill>
                  <a:schemeClr val="bg1"/>
                </a:solid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Tree>
    <p:extLst>
      <p:ext uri="{BB962C8B-B14F-4D97-AF65-F5344CB8AC3E}">
        <p14:creationId xmlns:p14="http://schemas.microsoft.com/office/powerpoint/2010/main" val="30515574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B7B218D-2FCE-4073-BC05-FE1C86DE2239}"/>
              </a:ext>
            </a:extLst>
          </p:cNvPr>
          <p:cNvSpPr>
            <a:spLocks noGrp="1"/>
          </p:cNvSpPr>
          <p:nvPr>
            <p:ph type="title"/>
          </p:nvPr>
        </p:nvSpPr>
        <p:spPr/>
        <p:txBody>
          <a:bodyPr/>
          <a:lstStyle>
            <a:lvl1pPr>
              <a:defRPr>
                <a:solidFill>
                  <a:schemeClr val="accent1"/>
                </a:solidFill>
              </a:defRPr>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CF4C9D91-2126-4972-9B5D-5B0B05F6C857}"/>
              </a:ext>
            </a:extLst>
          </p:cNvPr>
          <p:cNvSpPr>
            <a:spLocks noGrp="1"/>
          </p:cNvSpPr>
          <p:nvPr>
            <p:ph idx="1"/>
          </p:nvPr>
        </p:nvSpPr>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814A1226-D605-4A49-A747-2D4B404F9971}"/>
              </a:ext>
            </a:extLst>
          </p:cNvPr>
          <p:cNvSpPr>
            <a:spLocks noGrp="1"/>
          </p:cNvSpPr>
          <p:nvPr>
            <p:ph type="dt" sz="half" idx="10"/>
          </p:nvPr>
        </p:nvSpPr>
        <p:spPr/>
        <p:txBody>
          <a:bodyPr/>
          <a:lstStyle/>
          <a:p>
            <a:fld id="{4FE8C4D3-DC87-4B28-A885-768520B702CA}" type="datetime1">
              <a:rPr lang="es-CL" smtClean="0"/>
              <a:t>04-11-2024</a:t>
            </a:fld>
            <a:endParaRPr lang="es-CL"/>
          </a:p>
        </p:txBody>
      </p:sp>
      <p:sp>
        <p:nvSpPr>
          <p:cNvPr id="5" name="Marcador de pie de página 4">
            <a:extLst>
              <a:ext uri="{FF2B5EF4-FFF2-40B4-BE49-F238E27FC236}">
                <a16:creationId xmlns:a16="http://schemas.microsoft.com/office/drawing/2014/main" id="{4B818927-7DEA-41AA-AC5D-8C50C6A9B1A6}"/>
              </a:ext>
            </a:extLst>
          </p:cNvPr>
          <p:cNvSpPr>
            <a:spLocks noGrp="1"/>
          </p:cNvSpPr>
          <p:nvPr>
            <p:ph type="ftr" sz="quarter" idx="11"/>
          </p:nvPr>
        </p:nvSpPr>
        <p:spPr/>
        <p:txBody>
          <a:bodyPr/>
          <a:lstStyle/>
          <a:p>
            <a:r>
              <a:rPr lang="es-CL"/>
              <a:t>Transporte sostenible - División de Energías Sostenibles</a:t>
            </a:r>
          </a:p>
        </p:txBody>
      </p:sp>
      <p:sp>
        <p:nvSpPr>
          <p:cNvPr id="6" name="Marcador de número de diapositiva 5">
            <a:extLst>
              <a:ext uri="{FF2B5EF4-FFF2-40B4-BE49-F238E27FC236}">
                <a16:creationId xmlns:a16="http://schemas.microsoft.com/office/drawing/2014/main" id="{CB96656A-0C21-4006-8704-9CFF54A183C8}"/>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
        <p:nvSpPr>
          <p:cNvPr id="9" name="Marcador de texto 8">
            <a:extLst>
              <a:ext uri="{FF2B5EF4-FFF2-40B4-BE49-F238E27FC236}">
                <a16:creationId xmlns:a16="http://schemas.microsoft.com/office/drawing/2014/main" id="{50E4DB14-32CF-4199-9BD6-1BDCB0066BA5}"/>
              </a:ext>
            </a:extLst>
          </p:cNvPr>
          <p:cNvSpPr>
            <a:spLocks noGrp="1"/>
          </p:cNvSpPr>
          <p:nvPr>
            <p:ph type="body" sz="quarter" idx="13" hasCustomPrompt="1"/>
          </p:nvPr>
        </p:nvSpPr>
        <p:spPr>
          <a:xfrm>
            <a:off x="623888" y="1052513"/>
            <a:ext cx="9477375" cy="288925"/>
          </a:xfrm>
        </p:spPr>
        <p:txBody>
          <a:bodyPr anchor="ctr">
            <a:noAutofit/>
          </a:bodyPr>
          <a:lstStyle>
            <a:lvl1pPr marL="0" indent="0">
              <a:buNone/>
              <a:defRPr sz="2000"/>
            </a:lvl1pPr>
          </a:lstStyle>
          <a:p>
            <a:pPr lvl="0"/>
            <a:r>
              <a:rPr lang="es-ES"/>
              <a:t>Subtítulo</a:t>
            </a:r>
            <a:endParaRPr lang="es-CL"/>
          </a:p>
        </p:txBody>
      </p:sp>
    </p:spTree>
    <p:extLst>
      <p:ext uri="{BB962C8B-B14F-4D97-AF65-F5344CB8AC3E}">
        <p14:creationId xmlns:p14="http://schemas.microsoft.com/office/powerpoint/2010/main" val="2582970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ítulo y objetos">
    <p:bg>
      <p:bgPr>
        <a:solidFill>
          <a:schemeClr val="accent1"/>
        </a:solid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6B6E8A27-9C84-485B-9564-35F8D0CA260B}"/>
              </a:ext>
            </a:extLst>
          </p:cNvPr>
          <p:cNvSpPr/>
          <p:nvPr userDrawn="1"/>
        </p:nvSpPr>
        <p:spPr>
          <a:xfrm>
            <a:off x="0" y="6561137"/>
            <a:ext cx="12192000" cy="303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489">
              <a:solidFill>
                <a:schemeClr val="bg1"/>
              </a:solidFill>
            </a:endParaRPr>
          </a:p>
        </p:txBody>
      </p:sp>
      <p:sp>
        <p:nvSpPr>
          <p:cNvPr id="2" name="Título 1">
            <a:extLst>
              <a:ext uri="{FF2B5EF4-FFF2-40B4-BE49-F238E27FC236}">
                <a16:creationId xmlns:a16="http://schemas.microsoft.com/office/drawing/2014/main" id="{3B7B218D-2FCE-4073-BC05-FE1C86DE2239}"/>
              </a:ext>
            </a:extLst>
          </p:cNvPr>
          <p:cNvSpPr>
            <a:spLocks noGrp="1"/>
          </p:cNvSpPr>
          <p:nvPr>
            <p:ph type="title"/>
          </p:nvPr>
        </p:nvSpPr>
        <p:spPr/>
        <p:txBody>
          <a:bodyPr/>
          <a:lstStyle>
            <a:lvl1pPr>
              <a:defRPr>
                <a:solidFill>
                  <a:schemeClr val="bg1"/>
                </a:solidFill>
              </a:defRPr>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CF4C9D91-2126-4972-9B5D-5B0B05F6C857}"/>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814A1226-D605-4A49-A747-2D4B404F9971}"/>
              </a:ext>
            </a:extLst>
          </p:cNvPr>
          <p:cNvSpPr>
            <a:spLocks noGrp="1"/>
          </p:cNvSpPr>
          <p:nvPr>
            <p:ph type="dt" sz="half" idx="10"/>
          </p:nvPr>
        </p:nvSpPr>
        <p:spPr/>
        <p:txBody>
          <a:bodyPr/>
          <a:lstStyle>
            <a:lvl1pPr>
              <a:defRPr>
                <a:solidFill>
                  <a:schemeClr val="accent1"/>
                </a:solidFill>
              </a:defRPr>
            </a:lvl1pPr>
          </a:lstStyle>
          <a:p>
            <a:fld id="{356D8D83-18EE-43F9-8148-A55D24A9A47C}" type="datetime1">
              <a:rPr lang="es-CL" smtClean="0"/>
              <a:t>04-11-2024</a:t>
            </a:fld>
            <a:endParaRPr lang="es-CL"/>
          </a:p>
        </p:txBody>
      </p:sp>
      <p:sp>
        <p:nvSpPr>
          <p:cNvPr id="5" name="Marcador de pie de página 4">
            <a:extLst>
              <a:ext uri="{FF2B5EF4-FFF2-40B4-BE49-F238E27FC236}">
                <a16:creationId xmlns:a16="http://schemas.microsoft.com/office/drawing/2014/main" id="{4B818927-7DEA-41AA-AC5D-8C50C6A9B1A6}"/>
              </a:ext>
            </a:extLst>
          </p:cNvPr>
          <p:cNvSpPr>
            <a:spLocks noGrp="1"/>
          </p:cNvSpPr>
          <p:nvPr>
            <p:ph type="ftr" sz="quarter" idx="11"/>
          </p:nvPr>
        </p:nvSpPr>
        <p:spPr/>
        <p:txBody>
          <a:bodyPr/>
          <a:lstStyle>
            <a:lvl1pPr>
              <a:defRPr>
                <a:solidFill>
                  <a:schemeClr val="accent1"/>
                </a:solidFill>
              </a:defRPr>
            </a:lvl1pPr>
          </a:lstStyle>
          <a:p>
            <a:r>
              <a:rPr lang="es-CL"/>
              <a:t>Transporte sostenible - División de Energías Sostenibles</a:t>
            </a:r>
          </a:p>
        </p:txBody>
      </p:sp>
      <p:sp>
        <p:nvSpPr>
          <p:cNvPr id="6" name="Marcador de número de diapositiva 5">
            <a:extLst>
              <a:ext uri="{FF2B5EF4-FFF2-40B4-BE49-F238E27FC236}">
                <a16:creationId xmlns:a16="http://schemas.microsoft.com/office/drawing/2014/main" id="{CB96656A-0C21-4006-8704-9CFF54A183C8}"/>
              </a:ext>
            </a:extLst>
          </p:cNvPr>
          <p:cNvSpPr>
            <a:spLocks noGrp="1"/>
          </p:cNvSpPr>
          <p:nvPr>
            <p:ph type="sldNum" sz="quarter" idx="12"/>
          </p:nvPr>
        </p:nvSpPr>
        <p:spPr/>
        <p:txBody>
          <a:bodyPr/>
          <a:lstStyle>
            <a:lvl1pPr>
              <a:defRPr>
                <a:solidFill>
                  <a:schemeClr val="accent1"/>
                </a:solidFill>
              </a:defRPr>
            </a:lvl1pPr>
          </a:lstStyle>
          <a:p>
            <a:r>
              <a:rPr lang="es-CL"/>
              <a:t>|   </a:t>
            </a:r>
            <a:fld id="{785CD681-51D3-414E-83F2-54688883A8C2}" type="slidenum">
              <a:rPr lang="es-CL" smtClean="0"/>
              <a:pPr/>
              <a:t>‹Nº›</a:t>
            </a:fld>
            <a:endParaRPr lang="es-CL"/>
          </a:p>
        </p:txBody>
      </p:sp>
      <p:sp>
        <p:nvSpPr>
          <p:cNvPr id="9" name="Marcador de texto 8">
            <a:extLst>
              <a:ext uri="{FF2B5EF4-FFF2-40B4-BE49-F238E27FC236}">
                <a16:creationId xmlns:a16="http://schemas.microsoft.com/office/drawing/2014/main" id="{50E4DB14-32CF-4199-9BD6-1BDCB0066BA5}"/>
              </a:ext>
            </a:extLst>
          </p:cNvPr>
          <p:cNvSpPr>
            <a:spLocks noGrp="1"/>
          </p:cNvSpPr>
          <p:nvPr>
            <p:ph type="body" sz="quarter" idx="13" hasCustomPrompt="1"/>
          </p:nvPr>
        </p:nvSpPr>
        <p:spPr>
          <a:xfrm>
            <a:off x="623888" y="1052513"/>
            <a:ext cx="9477375" cy="288925"/>
          </a:xfrm>
        </p:spPr>
        <p:txBody>
          <a:bodyPr anchor="ctr">
            <a:noAutofit/>
          </a:bodyPr>
          <a:lstStyle>
            <a:lvl1pPr marL="0" indent="0">
              <a:buNone/>
              <a:defRPr sz="2000">
                <a:solidFill>
                  <a:schemeClr val="bg1"/>
                </a:solidFill>
              </a:defRPr>
            </a:lvl1pPr>
          </a:lstStyle>
          <a:p>
            <a:pPr lvl="0"/>
            <a:r>
              <a:rPr lang="es-ES"/>
              <a:t>Subtítulo</a:t>
            </a:r>
            <a:endParaRPr lang="es-CL"/>
          </a:p>
        </p:txBody>
      </p:sp>
      <p:pic>
        <p:nvPicPr>
          <p:cNvPr id="10" name="Imagen 9">
            <a:extLst>
              <a:ext uri="{FF2B5EF4-FFF2-40B4-BE49-F238E27FC236}">
                <a16:creationId xmlns:a16="http://schemas.microsoft.com/office/drawing/2014/main" id="{2E322BB6-4093-42AF-83EF-9CB812579D2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894618" y="0"/>
            <a:ext cx="2980341" cy="162140"/>
          </a:xfrm>
          <a:prstGeom prst="rect">
            <a:avLst/>
          </a:prstGeom>
        </p:spPr>
      </p:pic>
    </p:spTree>
    <p:extLst>
      <p:ext uri="{BB962C8B-B14F-4D97-AF65-F5344CB8AC3E}">
        <p14:creationId xmlns:p14="http://schemas.microsoft.com/office/powerpoint/2010/main" val="38493231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C381063-BE15-4244-8A9B-37C8C62AA01A}"/>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59E8A5B8-C17D-41A5-A2F4-865F43A725C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9C30FFB4-1915-4A68-B9CD-3FE6B2F78C84}"/>
              </a:ext>
            </a:extLst>
          </p:cNvPr>
          <p:cNvSpPr>
            <a:spLocks noGrp="1"/>
          </p:cNvSpPr>
          <p:nvPr>
            <p:ph type="dt" sz="half" idx="10"/>
          </p:nvPr>
        </p:nvSpPr>
        <p:spPr/>
        <p:txBody>
          <a:bodyPr/>
          <a:lstStyle/>
          <a:p>
            <a:fld id="{526A2CFF-B742-4D28-9C9C-D5027E64E1BE}" type="datetime1">
              <a:rPr lang="es-CL" smtClean="0"/>
              <a:t>04-11-2024</a:t>
            </a:fld>
            <a:endParaRPr lang="es-CL"/>
          </a:p>
        </p:txBody>
      </p:sp>
      <p:sp>
        <p:nvSpPr>
          <p:cNvPr id="5" name="Marcador de pie de página 4">
            <a:extLst>
              <a:ext uri="{FF2B5EF4-FFF2-40B4-BE49-F238E27FC236}">
                <a16:creationId xmlns:a16="http://schemas.microsoft.com/office/drawing/2014/main" id="{D174D68A-A0DC-435A-91D5-921CC06B575E}"/>
              </a:ext>
            </a:extLst>
          </p:cNvPr>
          <p:cNvSpPr>
            <a:spLocks noGrp="1"/>
          </p:cNvSpPr>
          <p:nvPr>
            <p:ph type="ftr" sz="quarter" idx="11"/>
          </p:nvPr>
        </p:nvSpPr>
        <p:spPr/>
        <p:txBody>
          <a:bodyPr/>
          <a:lstStyle/>
          <a:p>
            <a:r>
              <a:rPr lang="es-CL"/>
              <a:t>Transporte sostenible - División de Energías Sostenibles</a:t>
            </a:r>
          </a:p>
        </p:txBody>
      </p:sp>
      <p:sp>
        <p:nvSpPr>
          <p:cNvPr id="6" name="Marcador de número de diapositiva 5">
            <a:extLst>
              <a:ext uri="{FF2B5EF4-FFF2-40B4-BE49-F238E27FC236}">
                <a16:creationId xmlns:a16="http://schemas.microsoft.com/office/drawing/2014/main" id="{EC72C2F2-4B98-48B4-85BE-402018A896C3}"/>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Tree>
    <p:extLst>
      <p:ext uri="{BB962C8B-B14F-4D97-AF65-F5344CB8AC3E}">
        <p14:creationId xmlns:p14="http://schemas.microsoft.com/office/powerpoint/2010/main" val="32902933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D7CA5E5-C55A-4453-B022-FDC6883B9E90}"/>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96C9AE93-C027-422F-9C46-DAA82A2F4C35}"/>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contenido 3">
            <a:extLst>
              <a:ext uri="{FF2B5EF4-FFF2-40B4-BE49-F238E27FC236}">
                <a16:creationId xmlns:a16="http://schemas.microsoft.com/office/drawing/2014/main" id="{CCB88577-C6BE-457E-8F69-6E3A3B414142}"/>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fecha 4">
            <a:extLst>
              <a:ext uri="{FF2B5EF4-FFF2-40B4-BE49-F238E27FC236}">
                <a16:creationId xmlns:a16="http://schemas.microsoft.com/office/drawing/2014/main" id="{47D60072-D667-43C5-8020-8AD1FD43C237}"/>
              </a:ext>
            </a:extLst>
          </p:cNvPr>
          <p:cNvSpPr>
            <a:spLocks noGrp="1"/>
          </p:cNvSpPr>
          <p:nvPr>
            <p:ph type="dt" sz="half" idx="10"/>
          </p:nvPr>
        </p:nvSpPr>
        <p:spPr/>
        <p:txBody>
          <a:bodyPr/>
          <a:lstStyle/>
          <a:p>
            <a:fld id="{C870F2C2-211A-4F8D-A6FD-22DE3818AA2F}" type="datetime1">
              <a:rPr lang="es-CL" smtClean="0"/>
              <a:t>04-11-2024</a:t>
            </a:fld>
            <a:endParaRPr lang="es-CL"/>
          </a:p>
        </p:txBody>
      </p:sp>
      <p:sp>
        <p:nvSpPr>
          <p:cNvPr id="6" name="Marcador de pie de página 5">
            <a:extLst>
              <a:ext uri="{FF2B5EF4-FFF2-40B4-BE49-F238E27FC236}">
                <a16:creationId xmlns:a16="http://schemas.microsoft.com/office/drawing/2014/main" id="{9C418E3E-0467-4758-896C-CDDD93E306F1}"/>
              </a:ext>
            </a:extLst>
          </p:cNvPr>
          <p:cNvSpPr>
            <a:spLocks noGrp="1"/>
          </p:cNvSpPr>
          <p:nvPr>
            <p:ph type="ftr" sz="quarter" idx="11"/>
          </p:nvPr>
        </p:nvSpPr>
        <p:spPr/>
        <p:txBody>
          <a:bodyPr/>
          <a:lstStyle/>
          <a:p>
            <a:r>
              <a:rPr lang="es-CL"/>
              <a:t>Transporte sostenible - División de Energías Sostenibles</a:t>
            </a:r>
          </a:p>
        </p:txBody>
      </p:sp>
      <p:sp>
        <p:nvSpPr>
          <p:cNvPr id="7" name="Marcador de número de diapositiva 6">
            <a:extLst>
              <a:ext uri="{FF2B5EF4-FFF2-40B4-BE49-F238E27FC236}">
                <a16:creationId xmlns:a16="http://schemas.microsoft.com/office/drawing/2014/main" id="{22F17D2A-8734-44F9-BA68-24D0B5BCFFF6}"/>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
        <p:nvSpPr>
          <p:cNvPr id="8" name="Marcador de texto 8">
            <a:extLst>
              <a:ext uri="{FF2B5EF4-FFF2-40B4-BE49-F238E27FC236}">
                <a16:creationId xmlns:a16="http://schemas.microsoft.com/office/drawing/2014/main" id="{CD7F0A6B-5814-4076-9772-BB5D0509AC3F}"/>
              </a:ext>
            </a:extLst>
          </p:cNvPr>
          <p:cNvSpPr>
            <a:spLocks noGrp="1"/>
          </p:cNvSpPr>
          <p:nvPr>
            <p:ph type="body" sz="quarter" idx="13" hasCustomPrompt="1"/>
          </p:nvPr>
        </p:nvSpPr>
        <p:spPr>
          <a:xfrm>
            <a:off x="623888" y="1052513"/>
            <a:ext cx="9477375" cy="288925"/>
          </a:xfrm>
        </p:spPr>
        <p:txBody>
          <a:bodyPr anchor="ctr">
            <a:noAutofit/>
          </a:bodyPr>
          <a:lstStyle>
            <a:lvl1pPr marL="0" indent="0">
              <a:buNone/>
              <a:defRPr sz="2000"/>
            </a:lvl1pPr>
          </a:lstStyle>
          <a:p>
            <a:pPr lvl="0"/>
            <a:r>
              <a:rPr lang="es-ES"/>
              <a:t>Subtítulo</a:t>
            </a:r>
            <a:endParaRPr lang="es-CL"/>
          </a:p>
        </p:txBody>
      </p:sp>
    </p:spTree>
    <p:extLst>
      <p:ext uri="{BB962C8B-B14F-4D97-AF65-F5344CB8AC3E}">
        <p14:creationId xmlns:p14="http://schemas.microsoft.com/office/powerpoint/2010/main" val="22705194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F0A7D61-2894-4B2D-8A84-7F523E4FED70}"/>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86F75065-15C8-40FE-B1D4-E5B7E9D274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2BBCFBD1-F030-4303-9E02-638A86A71C52}"/>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texto 4">
            <a:extLst>
              <a:ext uri="{FF2B5EF4-FFF2-40B4-BE49-F238E27FC236}">
                <a16:creationId xmlns:a16="http://schemas.microsoft.com/office/drawing/2014/main" id="{2E8F6980-9168-412B-B001-C591B0107FC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3AFC9CB7-D71A-4E8A-8BB7-E8EF2364C8A9}"/>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Marcador de fecha 6">
            <a:extLst>
              <a:ext uri="{FF2B5EF4-FFF2-40B4-BE49-F238E27FC236}">
                <a16:creationId xmlns:a16="http://schemas.microsoft.com/office/drawing/2014/main" id="{D36A0E42-C8E7-4D1D-A805-227FB183430D}"/>
              </a:ext>
            </a:extLst>
          </p:cNvPr>
          <p:cNvSpPr>
            <a:spLocks noGrp="1"/>
          </p:cNvSpPr>
          <p:nvPr>
            <p:ph type="dt" sz="half" idx="10"/>
          </p:nvPr>
        </p:nvSpPr>
        <p:spPr/>
        <p:txBody>
          <a:bodyPr/>
          <a:lstStyle/>
          <a:p>
            <a:fld id="{1905B82C-5435-4C70-B5D5-9546B8389CA0}" type="datetime1">
              <a:rPr lang="es-CL" smtClean="0"/>
              <a:t>04-11-2024</a:t>
            </a:fld>
            <a:endParaRPr lang="es-CL"/>
          </a:p>
        </p:txBody>
      </p:sp>
      <p:sp>
        <p:nvSpPr>
          <p:cNvPr id="8" name="Marcador de pie de página 7">
            <a:extLst>
              <a:ext uri="{FF2B5EF4-FFF2-40B4-BE49-F238E27FC236}">
                <a16:creationId xmlns:a16="http://schemas.microsoft.com/office/drawing/2014/main" id="{79E75352-1B91-4D29-98A5-629C1A36A782}"/>
              </a:ext>
            </a:extLst>
          </p:cNvPr>
          <p:cNvSpPr>
            <a:spLocks noGrp="1"/>
          </p:cNvSpPr>
          <p:nvPr>
            <p:ph type="ftr" sz="quarter" idx="11"/>
          </p:nvPr>
        </p:nvSpPr>
        <p:spPr/>
        <p:txBody>
          <a:bodyPr/>
          <a:lstStyle/>
          <a:p>
            <a:r>
              <a:rPr lang="es-CL"/>
              <a:t>Transporte sostenible - División de Energías Sostenibles</a:t>
            </a:r>
          </a:p>
        </p:txBody>
      </p:sp>
      <p:sp>
        <p:nvSpPr>
          <p:cNvPr id="9" name="Marcador de número de diapositiva 8">
            <a:extLst>
              <a:ext uri="{FF2B5EF4-FFF2-40B4-BE49-F238E27FC236}">
                <a16:creationId xmlns:a16="http://schemas.microsoft.com/office/drawing/2014/main" id="{B2621991-ED8E-41A7-A3AC-BFA07C1F7484}"/>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Tree>
    <p:extLst>
      <p:ext uri="{BB962C8B-B14F-4D97-AF65-F5344CB8AC3E}">
        <p14:creationId xmlns:p14="http://schemas.microsoft.com/office/powerpoint/2010/main" val="41473643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C3830FD-2246-42AB-A9FC-7B0CC83FBD20}"/>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C1B86853-C40F-439A-934E-F806D5C23D51}"/>
              </a:ext>
            </a:extLst>
          </p:cNvPr>
          <p:cNvSpPr>
            <a:spLocks noGrp="1"/>
          </p:cNvSpPr>
          <p:nvPr>
            <p:ph type="dt" sz="half" idx="10"/>
          </p:nvPr>
        </p:nvSpPr>
        <p:spPr/>
        <p:txBody>
          <a:bodyPr/>
          <a:lstStyle/>
          <a:p>
            <a:fld id="{E9857BEB-9B5B-4C6C-BBC6-13B3BC749327}" type="datetime1">
              <a:rPr lang="es-CL" smtClean="0"/>
              <a:t>04-11-2024</a:t>
            </a:fld>
            <a:endParaRPr lang="es-CL"/>
          </a:p>
        </p:txBody>
      </p:sp>
      <p:sp>
        <p:nvSpPr>
          <p:cNvPr id="4" name="Marcador de pie de página 3">
            <a:extLst>
              <a:ext uri="{FF2B5EF4-FFF2-40B4-BE49-F238E27FC236}">
                <a16:creationId xmlns:a16="http://schemas.microsoft.com/office/drawing/2014/main" id="{F0C4EEA2-B008-4597-92EE-EDC25AF43838}"/>
              </a:ext>
            </a:extLst>
          </p:cNvPr>
          <p:cNvSpPr>
            <a:spLocks noGrp="1"/>
          </p:cNvSpPr>
          <p:nvPr>
            <p:ph type="ftr" sz="quarter" idx="11"/>
          </p:nvPr>
        </p:nvSpPr>
        <p:spPr/>
        <p:txBody>
          <a:bodyPr/>
          <a:lstStyle/>
          <a:p>
            <a:r>
              <a:rPr lang="es-CL"/>
              <a:t>Transporte sostenible - División de Energías Sostenibles</a:t>
            </a:r>
          </a:p>
        </p:txBody>
      </p:sp>
      <p:sp>
        <p:nvSpPr>
          <p:cNvPr id="5" name="Marcador de número de diapositiva 4">
            <a:extLst>
              <a:ext uri="{FF2B5EF4-FFF2-40B4-BE49-F238E27FC236}">
                <a16:creationId xmlns:a16="http://schemas.microsoft.com/office/drawing/2014/main" id="{C885CEED-E4F4-4711-A4E8-280F1D64353A}"/>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
        <p:nvSpPr>
          <p:cNvPr id="6" name="Marcador de texto 8">
            <a:extLst>
              <a:ext uri="{FF2B5EF4-FFF2-40B4-BE49-F238E27FC236}">
                <a16:creationId xmlns:a16="http://schemas.microsoft.com/office/drawing/2014/main" id="{7D432F17-5A54-47CE-BD0A-030502A949ED}"/>
              </a:ext>
            </a:extLst>
          </p:cNvPr>
          <p:cNvSpPr>
            <a:spLocks noGrp="1"/>
          </p:cNvSpPr>
          <p:nvPr>
            <p:ph type="body" sz="quarter" idx="13" hasCustomPrompt="1"/>
          </p:nvPr>
        </p:nvSpPr>
        <p:spPr>
          <a:xfrm>
            <a:off x="623888" y="1052513"/>
            <a:ext cx="9477375" cy="288925"/>
          </a:xfrm>
        </p:spPr>
        <p:txBody>
          <a:bodyPr anchor="ctr">
            <a:noAutofit/>
          </a:bodyPr>
          <a:lstStyle>
            <a:lvl1pPr marL="0" indent="0">
              <a:buNone/>
              <a:defRPr sz="2000"/>
            </a:lvl1pPr>
          </a:lstStyle>
          <a:p>
            <a:pPr lvl="0"/>
            <a:r>
              <a:rPr lang="es-ES"/>
              <a:t>Subtítulo</a:t>
            </a:r>
            <a:endParaRPr lang="es-CL"/>
          </a:p>
        </p:txBody>
      </p:sp>
    </p:spTree>
    <p:extLst>
      <p:ext uri="{BB962C8B-B14F-4D97-AF65-F5344CB8AC3E}">
        <p14:creationId xmlns:p14="http://schemas.microsoft.com/office/powerpoint/2010/main" val="2754024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olo el títul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85EC41B0-BE65-4DD6-8755-2139ABC92E75}"/>
              </a:ext>
            </a:extLst>
          </p:cNvPr>
          <p:cNvSpPr/>
          <p:nvPr userDrawn="1"/>
        </p:nvSpPr>
        <p:spPr>
          <a:xfrm>
            <a:off x="0" y="3428999"/>
            <a:ext cx="12192000" cy="3132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7" name="Marcador de posición de imagen 16">
            <a:extLst>
              <a:ext uri="{FF2B5EF4-FFF2-40B4-BE49-F238E27FC236}">
                <a16:creationId xmlns:a16="http://schemas.microsoft.com/office/drawing/2014/main" id="{E355944B-C975-48FB-B935-BB1A85A21F13}"/>
              </a:ext>
            </a:extLst>
          </p:cNvPr>
          <p:cNvSpPr>
            <a:spLocks noGrp="1"/>
          </p:cNvSpPr>
          <p:nvPr>
            <p:ph type="pic" sz="quarter" idx="14"/>
          </p:nvPr>
        </p:nvSpPr>
        <p:spPr>
          <a:xfrm>
            <a:off x="468908" y="1978819"/>
            <a:ext cx="2322513" cy="2322512"/>
          </a:xfrm>
          <a:prstGeom prst="ellipse">
            <a:avLst/>
          </a:prstGeom>
        </p:spPr>
        <p:txBody>
          <a:bodyPr/>
          <a:lstStyle>
            <a:lvl1pPr marL="0" indent="0">
              <a:buNone/>
              <a:defRPr/>
            </a:lvl1pPr>
          </a:lstStyle>
          <a:p>
            <a:endParaRPr lang="es-CL"/>
          </a:p>
        </p:txBody>
      </p:sp>
      <p:sp>
        <p:nvSpPr>
          <p:cNvPr id="2" name="Título 1">
            <a:extLst>
              <a:ext uri="{FF2B5EF4-FFF2-40B4-BE49-F238E27FC236}">
                <a16:creationId xmlns:a16="http://schemas.microsoft.com/office/drawing/2014/main" id="{7C3830FD-2246-42AB-A9FC-7B0CC83FBD20}"/>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C1B86853-C40F-439A-934E-F806D5C23D51}"/>
              </a:ext>
            </a:extLst>
          </p:cNvPr>
          <p:cNvSpPr>
            <a:spLocks noGrp="1"/>
          </p:cNvSpPr>
          <p:nvPr>
            <p:ph type="dt" sz="half" idx="10"/>
          </p:nvPr>
        </p:nvSpPr>
        <p:spPr/>
        <p:txBody>
          <a:bodyPr/>
          <a:lstStyle/>
          <a:p>
            <a:fld id="{64A2E4CB-8102-4C97-B805-480F4D8A3A26}" type="datetime1">
              <a:rPr lang="es-CL" smtClean="0"/>
              <a:t>04-11-2024</a:t>
            </a:fld>
            <a:endParaRPr lang="es-CL"/>
          </a:p>
        </p:txBody>
      </p:sp>
      <p:sp>
        <p:nvSpPr>
          <p:cNvPr id="4" name="Marcador de pie de página 3">
            <a:extLst>
              <a:ext uri="{FF2B5EF4-FFF2-40B4-BE49-F238E27FC236}">
                <a16:creationId xmlns:a16="http://schemas.microsoft.com/office/drawing/2014/main" id="{F0C4EEA2-B008-4597-92EE-EDC25AF43838}"/>
              </a:ext>
            </a:extLst>
          </p:cNvPr>
          <p:cNvSpPr>
            <a:spLocks noGrp="1"/>
          </p:cNvSpPr>
          <p:nvPr>
            <p:ph type="ftr" sz="quarter" idx="11"/>
          </p:nvPr>
        </p:nvSpPr>
        <p:spPr/>
        <p:txBody>
          <a:bodyPr/>
          <a:lstStyle/>
          <a:p>
            <a:r>
              <a:rPr lang="es-CL"/>
              <a:t>Transporte sostenible - División de Energías Sostenibles</a:t>
            </a:r>
          </a:p>
        </p:txBody>
      </p:sp>
      <p:sp>
        <p:nvSpPr>
          <p:cNvPr id="5" name="Marcador de número de diapositiva 4">
            <a:extLst>
              <a:ext uri="{FF2B5EF4-FFF2-40B4-BE49-F238E27FC236}">
                <a16:creationId xmlns:a16="http://schemas.microsoft.com/office/drawing/2014/main" id="{C885CEED-E4F4-4711-A4E8-280F1D64353A}"/>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
        <p:nvSpPr>
          <p:cNvPr id="6" name="Marcador de texto 8">
            <a:extLst>
              <a:ext uri="{FF2B5EF4-FFF2-40B4-BE49-F238E27FC236}">
                <a16:creationId xmlns:a16="http://schemas.microsoft.com/office/drawing/2014/main" id="{7D432F17-5A54-47CE-BD0A-030502A949ED}"/>
              </a:ext>
            </a:extLst>
          </p:cNvPr>
          <p:cNvSpPr>
            <a:spLocks noGrp="1"/>
          </p:cNvSpPr>
          <p:nvPr>
            <p:ph type="body" sz="quarter" idx="13" hasCustomPrompt="1"/>
          </p:nvPr>
        </p:nvSpPr>
        <p:spPr>
          <a:xfrm>
            <a:off x="623888" y="1052513"/>
            <a:ext cx="9477375" cy="288925"/>
          </a:xfrm>
        </p:spPr>
        <p:txBody>
          <a:bodyPr anchor="ctr">
            <a:noAutofit/>
          </a:bodyPr>
          <a:lstStyle>
            <a:lvl1pPr marL="0" indent="0">
              <a:buNone/>
              <a:defRPr sz="2000"/>
            </a:lvl1pPr>
          </a:lstStyle>
          <a:p>
            <a:pPr lvl="0"/>
            <a:r>
              <a:rPr lang="es-ES"/>
              <a:t>Subtítulo</a:t>
            </a:r>
            <a:endParaRPr lang="es-CL"/>
          </a:p>
        </p:txBody>
      </p:sp>
      <p:sp>
        <p:nvSpPr>
          <p:cNvPr id="19" name="Marcador de texto 18">
            <a:extLst>
              <a:ext uri="{FF2B5EF4-FFF2-40B4-BE49-F238E27FC236}">
                <a16:creationId xmlns:a16="http://schemas.microsoft.com/office/drawing/2014/main" id="{D3F70FF3-41BF-451A-A571-EC316FF77068}"/>
              </a:ext>
            </a:extLst>
          </p:cNvPr>
          <p:cNvSpPr>
            <a:spLocks noGrp="1"/>
          </p:cNvSpPr>
          <p:nvPr>
            <p:ph type="body" sz="quarter" idx="15" hasCustomPrompt="1"/>
          </p:nvPr>
        </p:nvSpPr>
        <p:spPr>
          <a:xfrm>
            <a:off x="247764" y="4546726"/>
            <a:ext cx="2772000" cy="826170"/>
          </a:xfrm>
        </p:spPr>
        <p:txBody>
          <a:bodyPr anchor="ctr">
            <a:normAutofit/>
          </a:bodyPr>
          <a:lstStyle>
            <a:lvl1pPr marL="0" indent="0" algn="ctr">
              <a:buNone/>
              <a:defRPr sz="1600" b="1">
                <a:latin typeface="+mj-lt"/>
              </a:defRPr>
            </a:lvl1pPr>
          </a:lstStyle>
          <a:p>
            <a:pPr lvl="0"/>
            <a:r>
              <a:rPr lang="es-ES" sz="1600">
                <a:latin typeface="+mj-lt"/>
              </a:rPr>
              <a:t>Insertar Texto</a:t>
            </a:r>
            <a:endParaRPr lang="es-CL"/>
          </a:p>
        </p:txBody>
      </p:sp>
      <p:sp>
        <p:nvSpPr>
          <p:cNvPr id="20" name="Marcador de posición de imagen 16">
            <a:extLst>
              <a:ext uri="{FF2B5EF4-FFF2-40B4-BE49-F238E27FC236}">
                <a16:creationId xmlns:a16="http://schemas.microsoft.com/office/drawing/2014/main" id="{317EC220-0EE8-40E8-B0FD-E74C8353C259}"/>
              </a:ext>
            </a:extLst>
          </p:cNvPr>
          <p:cNvSpPr>
            <a:spLocks noGrp="1"/>
          </p:cNvSpPr>
          <p:nvPr>
            <p:ph type="pic" sz="quarter" idx="16"/>
          </p:nvPr>
        </p:nvSpPr>
        <p:spPr>
          <a:xfrm>
            <a:off x="3431029" y="1978819"/>
            <a:ext cx="2322513" cy="2322512"/>
          </a:xfrm>
          <a:prstGeom prst="ellipse">
            <a:avLst/>
          </a:prstGeom>
        </p:spPr>
        <p:txBody>
          <a:bodyPr/>
          <a:lstStyle>
            <a:lvl1pPr marL="0" indent="0">
              <a:buNone/>
              <a:defRPr/>
            </a:lvl1pPr>
          </a:lstStyle>
          <a:p>
            <a:endParaRPr lang="es-CL"/>
          </a:p>
        </p:txBody>
      </p:sp>
      <p:sp>
        <p:nvSpPr>
          <p:cNvPr id="21" name="Marcador de texto 18">
            <a:extLst>
              <a:ext uri="{FF2B5EF4-FFF2-40B4-BE49-F238E27FC236}">
                <a16:creationId xmlns:a16="http://schemas.microsoft.com/office/drawing/2014/main" id="{E8A1BB8A-7671-4252-A22D-6668BCB8F773}"/>
              </a:ext>
            </a:extLst>
          </p:cNvPr>
          <p:cNvSpPr>
            <a:spLocks noGrp="1"/>
          </p:cNvSpPr>
          <p:nvPr>
            <p:ph type="body" sz="quarter" idx="17" hasCustomPrompt="1"/>
          </p:nvPr>
        </p:nvSpPr>
        <p:spPr>
          <a:xfrm>
            <a:off x="3209885" y="4546726"/>
            <a:ext cx="2772000" cy="826170"/>
          </a:xfrm>
        </p:spPr>
        <p:txBody>
          <a:bodyPr anchor="ctr">
            <a:normAutofit/>
          </a:bodyPr>
          <a:lstStyle>
            <a:lvl1pPr marL="0" indent="0" algn="ctr">
              <a:buNone/>
              <a:defRPr sz="1600" b="1">
                <a:latin typeface="+mj-lt"/>
              </a:defRPr>
            </a:lvl1pPr>
          </a:lstStyle>
          <a:p>
            <a:pPr lvl="0"/>
            <a:r>
              <a:rPr lang="es-ES" sz="1600">
                <a:latin typeface="+mj-lt"/>
              </a:rPr>
              <a:t>Insertar Texto</a:t>
            </a:r>
            <a:endParaRPr lang="es-CL"/>
          </a:p>
        </p:txBody>
      </p:sp>
      <p:sp>
        <p:nvSpPr>
          <p:cNvPr id="22" name="Marcador de posición de imagen 16">
            <a:extLst>
              <a:ext uri="{FF2B5EF4-FFF2-40B4-BE49-F238E27FC236}">
                <a16:creationId xmlns:a16="http://schemas.microsoft.com/office/drawing/2014/main" id="{D9F5EB07-31CA-427A-B65E-85724B4762A8}"/>
              </a:ext>
            </a:extLst>
          </p:cNvPr>
          <p:cNvSpPr>
            <a:spLocks noGrp="1"/>
          </p:cNvSpPr>
          <p:nvPr>
            <p:ph type="pic" sz="quarter" idx="18"/>
          </p:nvPr>
        </p:nvSpPr>
        <p:spPr>
          <a:xfrm>
            <a:off x="6393150" y="1978819"/>
            <a:ext cx="2322513" cy="2322512"/>
          </a:xfrm>
          <a:prstGeom prst="ellipse">
            <a:avLst/>
          </a:prstGeom>
        </p:spPr>
        <p:txBody>
          <a:bodyPr/>
          <a:lstStyle>
            <a:lvl1pPr marL="0" indent="0">
              <a:buNone/>
              <a:defRPr/>
            </a:lvl1pPr>
          </a:lstStyle>
          <a:p>
            <a:endParaRPr lang="es-CL"/>
          </a:p>
        </p:txBody>
      </p:sp>
      <p:sp>
        <p:nvSpPr>
          <p:cNvPr id="23" name="Marcador de texto 18">
            <a:extLst>
              <a:ext uri="{FF2B5EF4-FFF2-40B4-BE49-F238E27FC236}">
                <a16:creationId xmlns:a16="http://schemas.microsoft.com/office/drawing/2014/main" id="{AFCE5B10-7F36-4EF1-ACA4-B6A6E34EC579}"/>
              </a:ext>
            </a:extLst>
          </p:cNvPr>
          <p:cNvSpPr>
            <a:spLocks noGrp="1"/>
          </p:cNvSpPr>
          <p:nvPr>
            <p:ph type="body" sz="quarter" idx="19" hasCustomPrompt="1"/>
          </p:nvPr>
        </p:nvSpPr>
        <p:spPr>
          <a:xfrm>
            <a:off x="6172006" y="4546726"/>
            <a:ext cx="2772000" cy="826170"/>
          </a:xfrm>
        </p:spPr>
        <p:txBody>
          <a:bodyPr anchor="ctr">
            <a:normAutofit/>
          </a:bodyPr>
          <a:lstStyle>
            <a:lvl1pPr marL="0" indent="0" algn="ctr">
              <a:buNone/>
              <a:defRPr sz="1600" b="1">
                <a:latin typeface="+mj-lt"/>
              </a:defRPr>
            </a:lvl1pPr>
          </a:lstStyle>
          <a:p>
            <a:pPr lvl="0"/>
            <a:r>
              <a:rPr lang="es-ES" sz="1600">
                <a:latin typeface="+mj-lt"/>
              </a:rPr>
              <a:t>Insertar Texto</a:t>
            </a:r>
            <a:endParaRPr lang="es-CL"/>
          </a:p>
        </p:txBody>
      </p:sp>
      <p:sp>
        <p:nvSpPr>
          <p:cNvPr id="24" name="Marcador de posición de imagen 16">
            <a:extLst>
              <a:ext uri="{FF2B5EF4-FFF2-40B4-BE49-F238E27FC236}">
                <a16:creationId xmlns:a16="http://schemas.microsoft.com/office/drawing/2014/main" id="{69DB6F74-2ECE-4785-99D7-69845AE61CFA}"/>
              </a:ext>
            </a:extLst>
          </p:cNvPr>
          <p:cNvSpPr>
            <a:spLocks noGrp="1"/>
          </p:cNvSpPr>
          <p:nvPr>
            <p:ph type="pic" sz="quarter" idx="20"/>
          </p:nvPr>
        </p:nvSpPr>
        <p:spPr>
          <a:xfrm>
            <a:off x="9355271" y="1978819"/>
            <a:ext cx="2322513" cy="2322512"/>
          </a:xfrm>
          <a:prstGeom prst="ellipse">
            <a:avLst/>
          </a:prstGeom>
        </p:spPr>
        <p:txBody>
          <a:bodyPr/>
          <a:lstStyle>
            <a:lvl1pPr marL="0" indent="0">
              <a:buNone/>
              <a:defRPr/>
            </a:lvl1pPr>
          </a:lstStyle>
          <a:p>
            <a:endParaRPr lang="es-CL"/>
          </a:p>
        </p:txBody>
      </p:sp>
      <p:sp>
        <p:nvSpPr>
          <p:cNvPr id="25" name="Marcador de texto 18">
            <a:extLst>
              <a:ext uri="{FF2B5EF4-FFF2-40B4-BE49-F238E27FC236}">
                <a16:creationId xmlns:a16="http://schemas.microsoft.com/office/drawing/2014/main" id="{36F36991-E4CA-4CCB-89C1-3278730B707F}"/>
              </a:ext>
            </a:extLst>
          </p:cNvPr>
          <p:cNvSpPr>
            <a:spLocks noGrp="1"/>
          </p:cNvSpPr>
          <p:nvPr>
            <p:ph type="body" sz="quarter" idx="21" hasCustomPrompt="1"/>
          </p:nvPr>
        </p:nvSpPr>
        <p:spPr>
          <a:xfrm>
            <a:off x="9134127" y="4546726"/>
            <a:ext cx="2772000" cy="826170"/>
          </a:xfrm>
        </p:spPr>
        <p:txBody>
          <a:bodyPr anchor="ctr">
            <a:normAutofit/>
          </a:bodyPr>
          <a:lstStyle>
            <a:lvl1pPr marL="0" indent="0" algn="ctr">
              <a:buNone/>
              <a:defRPr sz="1600" b="1">
                <a:latin typeface="+mj-lt"/>
              </a:defRPr>
            </a:lvl1pPr>
          </a:lstStyle>
          <a:p>
            <a:pPr lvl="0"/>
            <a:r>
              <a:rPr lang="es-ES" sz="1600">
                <a:latin typeface="+mj-lt"/>
              </a:rPr>
              <a:t>Insertar Texto</a:t>
            </a:r>
            <a:endParaRPr lang="es-CL"/>
          </a:p>
        </p:txBody>
      </p:sp>
    </p:spTree>
    <p:extLst>
      <p:ext uri="{BB962C8B-B14F-4D97-AF65-F5344CB8AC3E}">
        <p14:creationId xmlns:p14="http://schemas.microsoft.com/office/powerpoint/2010/main" val="38083797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Diapositiva de título">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50FA9CE-DBE5-49FF-9832-17BE7FA4124F}"/>
              </a:ext>
            </a:extLst>
          </p:cNvPr>
          <p:cNvSpPr/>
          <p:nvPr/>
        </p:nvSpPr>
        <p:spPr>
          <a:xfrm>
            <a:off x="623888" y="2845938"/>
            <a:ext cx="5472112" cy="37152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rgbClr val="354B6D"/>
              </a:solidFill>
            </a:endParaRPr>
          </a:p>
        </p:txBody>
      </p:sp>
      <p:pic>
        <p:nvPicPr>
          <p:cNvPr id="11" name="Imagen 10">
            <a:extLst>
              <a:ext uri="{FF2B5EF4-FFF2-40B4-BE49-F238E27FC236}">
                <a16:creationId xmlns:a16="http://schemas.microsoft.com/office/drawing/2014/main" id="{6E298771-C716-4611-8642-C70AB80A85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1406" y="3055356"/>
            <a:ext cx="1368000" cy="1317517"/>
          </a:xfrm>
          <a:prstGeom prst="rect">
            <a:avLst/>
          </a:prstGeom>
        </p:spPr>
      </p:pic>
      <p:sp>
        <p:nvSpPr>
          <p:cNvPr id="3" name="Subtítulo 2">
            <a:extLst>
              <a:ext uri="{FF2B5EF4-FFF2-40B4-BE49-F238E27FC236}">
                <a16:creationId xmlns:a16="http://schemas.microsoft.com/office/drawing/2014/main" id="{EBF92673-24A0-4AC2-B19C-9365817272C4}"/>
              </a:ext>
            </a:extLst>
          </p:cNvPr>
          <p:cNvSpPr>
            <a:spLocks noGrp="1"/>
          </p:cNvSpPr>
          <p:nvPr userDrawn="1">
            <p:ph type="subTitle" idx="1"/>
          </p:nvPr>
        </p:nvSpPr>
        <p:spPr>
          <a:xfrm>
            <a:off x="911407" y="5312569"/>
            <a:ext cx="4740075" cy="679782"/>
          </a:xfr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2" name="Título 1">
            <a:extLst>
              <a:ext uri="{FF2B5EF4-FFF2-40B4-BE49-F238E27FC236}">
                <a16:creationId xmlns:a16="http://schemas.microsoft.com/office/drawing/2014/main" id="{DCAFB713-40D8-4950-AFB0-4B603BB02678}"/>
              </a:ext>
            </a:extLst>
          </p:cNvPr>
          <p:cNvSpPr>
            <a:spLocks noGrp="1"/>
          </p:cNvSpPr>
          <p:nvPr userDrawn="1">
            <p:ph type="ctrTitle" hasCustomPrompt="1"/>
          </p:nvPr>
        </p:nvSpPr>
        <p:spPr>
          <a:xfrm>
            <a:off x="911406" y="4582291"/>
            <a:ext cx="4740075" cy="679782"/>
          </a:xfrm>
        </p:spPr>
        <p:txBody>
          <a:bodyPr anchor="b">
            <a:normAutofit/>
          </a:bodyPr>
          <a:lstStyle>
            <a:lvl1pPr algn="l">
              <a:defRPr sz="4000" b="1">
                <a:solidFill>
                  <a:schemeClr val="bg1"/>
                </a:solidFill>
              </a:defRPr>
            </a:lvl1pPr>
          </a:lstStyle>
          <a:p>
            <a:r>
              <a:rPr lang="es-ES"/>
              <a:t>Título</a:t>
            </a:r>
            <a:endParaRPr lang="es-CL"/>
          </a:p>
        </p:txBody>
      </p:sp>
      <p:sp>
        <p:nvSpPr>
          <p:cNvPr id="13" name="Marcador de texto 12">
            <a:extLst>
              <a:ext uri="{FF2B5EF4-FFF2-40B4-BE49-F238E27FC236}">
                <a16:creationId xmlns:a16="http://schemas.microsoft.com/office/drawing/2014/main" id="{5971B7EB-4A56-48BB-B6F0-2EF8DAEA3732}"/>
              </a:ext>
            </a:extLst>
          </p:cNvPr>
          <p:cNvSpPr>
            <a:spLocks noGrp="1"/>
          </p:cNvSpPr>
          <p:nvPr>
            <p:ph type="body" sz="quarter" idx="10" hasCustomPrompt="1"/>
          </p:nvPr>
        </p:nvSpPr>
        <p:spPr>
          <a:xfrm>
            <a:off x="911407" y="6125932"/>
            <a:ext cx="4178268" cy="301625"/>
          </a:xfrm>
        </p:spPr>
        <p:txBody>
          <a:bodyPr>
            <a:noAutofit/>
          </a:bodyPr>
          <a:lstStyle>
            <a:lvl1pPr marL="0" indent="0">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s-ES"/>
              <a:t>Mes año</a:t>
            </a:r>
          </a:p>
        </p:txBody>
      </p:sp>
    </p:spTree>
    <p:extLst>
      <p:ext uri="{BB962C8B-B14F-4D97-AF65-F5344CB8AC3E}">
        <p14:creationId xmlns:p14="http://schemas.microsoft.com/office/powerpoint/2010/main" val="5566736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Solo el títul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85EC41B0-BE65-4DD6-8755-2139ABC92E75}"/>
              </a:ext>
            </a:extLst>
          </p:cNvPr>
          <p:cNvSpPr/>
          <p:nvPr userDrawn="1"/>
        </p:nvSpPr>
        <p:spPr>
          <a:xfrm>
            <a:off x="0" y="3428999"/>
            <a:ext cx="12192000" cy="3132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7C3830FD-2246-42AB-A9FC-7B0CC83FBD20}"/>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C1B86853-C40F-439A-934E-F806D5C23D51}"/>
              </a:ext>
            </a:extLst>
          </p:cNvPr>
          <p:cNvSpPr>
            <a:spLocks noGrp="1"/>
          </p:cNvSpPr>
          <p:nvPr>
            <p:ph type="dt" sz="half" idx="10"/>
          </p:nvPr>
        </p:nvSpPr>
        <p:spPr/>
        <p:txBody>
          <a:bodyPr/>
          <a:lstStyle/>
          <a:p>
            <a:fld id="{DE7E2978-F0D0-4938-B839-41A5A6E2526F}" type="datetime1">
              <a:rPr lang="es-CL" smtClean="0"/>
              <a:t>04-11-2024</a:t>
            </a:fld>
            <a:endParaRPr lang="es-CL"/>
          </a:p>
        </p:txBody>
      </p:sp>
      <p:sp>
        <p:nvSpPr>
          <p:cNvPr id="4" name="Marcador de pie de página 3">
            <a:extLst>
              <a:ext uri="{FF2B5EF4-FFF2-40B4-BE49-F238E27FC236}">
                <a16:creationId xmlns:a16="http://schemas.microsoft.com/office/drawing/2014/main" id="{F0C4EEA2-B008-4597-92EE-EDC25AF43838}"/>
              </a:ext>
            </a:extLst>
          </p:cNvPr>
          <p:cNvSpPr>
            <a:spLocks noGrp="1"/>
          </p:cNvSpPr>
          <p:nvPr>
            <p:ph type="ftr" sz="quarter" idx="11"/>
          </p:nvPr>
        </p:nvSpPr>
        <p:spPr/>
        <p:txBody>
          <a:bodyPr/>
          <a:lstStyle/>
          <a:p>
            <a:r>
              <a:rPr lang="es-CL"/>
              <a:t>Transporte sostenible - División de Energías Sostenibles</a:t>
            </a:r>
          </a:p>
        </p:txBody>
      </p:sp>
      <p:sp>
        <p:nvSpPr>
          <p:cNvPr id="5" name="Marcador de número de diapositiva 4">
            <a:extLst>
              <a:ext uri="{FF2B5EF4-FFF2-40B4-BE49-F238E27FC236}">
                <a16:creationId xmlns:a16="http://schemas.microsoft.com/office/drawing/2014/main" id="{C885CEED-E4F4-4711-A4E8-280F1D64353A}"/>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
        <p:nvSpPr>
          <p:cNvPr id="6" name="Marcador de texto 8">
            <a:extLst>
              <a:ext uri="{FF2B5EF4-FFF2-40B4-BE49-F238E27FC236}">
                <a16:creationId xmlns:a16="http://schemas.microsoft.com/office/drawing/2014/main" id="{7D432F17-5A54-47CE-BD0A-030502A949ED}"/>
              </a:ext>
            </a:extLst>
          </p:cNvPr>
          <p:cNvSpPr>
            <a:spLocks noGrp="1"/>
          </p:cNvSpPr>
          <p:nvPr>
            <p:ph type="body" sz="quarter" idx="13" hasCustomPrompt="1"/>
          </p:nvPr>
        </p:nvSpPr>
        <p:spPr>
          <a:xfrm>
            <a:off x="623888" y="1052513"/>
            <a:ext cx="9477375" cy="288925"/>
          </a:xfrm>
        </p:spPr>
        <p:txBody>
          <a:bodyPr anchor="ctr">
            <a:noAutofit/>
          </a:bodyPr>
          <a:lstStyle>
            <a:lvl1pPr marL="0" indent="0">
              <a:buNone/>
              <a:defRPr sz="2000"/>
            </a:lvl1pPr>
          </a:lstStyle>
          <a:p>
            <a:pPr lvl="0"/>
            <a:r>
              <a:rPr lang="es-ES"/>
              <a:t>Subtítulo</a:t>
            </a:r>
            <a:endParaRPr lang="es-CL"/>
          </a:p>
        </p:txBody>
      </p:sp>
    </p:spTree>
    <p:extLst>
      <p:ext uri="{BB962C8B-B14F-4D97-AF65-F5344CB8AC3E}">
        <p14:creationId xmlns:p14="http://schemas.microsoft.com/office/powerpoint/2010/main" val="31842133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Solo el títul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85EC41B0-BE65-4DD6-8755-2139ABC92E75}"/>
              </a:ext>
            </a:extLst>
          </p:cNvPr>
          <p:cNvSpPr/>
          <p:nvPr userDrawn="1"/>
        </p:nvSpPr>
        <p:spPr>
          <a:xfrm>
            <a:off x="6096000" y="1341438"/>
            <a:ext cx="6096000" cy="52197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7C3830FD-2246-42AB-A9FC-7B0CC83FBD20}"/>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C1B86853-C40F-439A-934E-F806D5C23D51}"/>
              </a:ext>
            </a:extLst>
          </p:cNvPr>
          <p:cNvSpPr>
            <a:spLocks noGrp="1"/>
          </p:cNvSpPr>
          <p:nvPr>
            <p:ph type="dt" sz="half" idx="10"/>
          </p:nvPr>
        </p:nvSpPr>
        <p:spPr/>
        <p:txBody>
          <a:bodyPr/>
          <a:lstStyle/>
          <a:p>
            <a:fld id="{BA31D1C9-06F6-4524-82D8-0B1B10695BCE}" type="datetime1">
              <a:rPr lang="es-CL" smtClean="0"/>
              <a:t>04-11-2024</a:t>
            </a:fld>
            <a:endParaRPr lang="es-CL"/>
          </a:p>
        </p:txBody>
      </p:sp>
      <p:sp>
        <p:nvSpPr>
          <p:cNvPr id="4" name="Marcador de pie de página 3">
            <a:extLst>
              <a:ext uri="{FF2B5EF4-FFF2-40B4-BE49-F238E27FC236}">
                <a16:creationId xmlns:a16="http://schemas.microsoft.com/office/drawing/2014/main" id="{F0C4EEA2-B008-4597-92EE-EDC25AF43838}"/>
              </a:ext>
            </a:extLst>
          </p:cNvPr>
          <p:cNvSpPr>
            <a:spLocks noGrp="1"/>
          </p:cNvSpPr>
          <p:nvPr>
            <p:ph type="ftr" sz="quarter" idx="11"/>
          </p:nvPr>
        </p:nvSpPr>
        <p:spPr/>
        <p:txBody>
          <a:bodyPr/>
          <a:lstStyle/>
          <a:p>
            <a:r>
              <a:rPr lang="es-CL"/>
              <a:t>Transporte sostenible - División de Energías Sostenibles</a:t>
            </a:r>
          </a:p>
        </p:txBody>
      </p:sp>
      <p:sp>
        <p:nvSpPr>
          <p:cNvPr id="5" name="Marcador de número de diapositiva 4">
            <a:extLst>
              <a:ext uri="{FF2B5EF4-FFF2-40B4-BE49-F238E27FC236}">
                <a16:creationId xmlns:a16="http://schemas.microsoft.com/office/drawing/2014/main" id="{C885CEED-E4F4-4711-A4E8-280F1D64353A}"/>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
        <p:nvSpPr>
          <p:cNvPr id="6" name="Marcador de texto 8">
            <a:extLst>
              <a:ext uri="{FF2B5EF4-FFF2-40B4-BE49-F238E27FC236}">
                <a16:creationId xmlns:a16="http://schemas.microsoft.com/office/drawing/2014/main" id="{7D432F17-5A54-47CE-BD0A-030502A949ED}"/>
              </a:ext>
            </a:extLst>
          </p:cNvPr>
          <p:cNvSpPr>
            <a:spLocks noGrp="1"/>
          </p:cNvSpPr>
          <p:nvPr>
            <p:ph type="body" sz="quarter" idx="13" hasCustomPrompt="1"/>
          </p:nvPr>
        </p:nvSpPr>
        <p:spPr>
          <a:xfrm>
            <a:off x="623888" y="1052513"/>
            <a:ext cx="9477375" cy="288925"/>
          </a:xfrm>
        </p:spPr>
        <p:txBody>
          <a:bodyPr anchor="ctr">
            <a:noAutofit/>
          </a:bodyPr>
          <a:lstStyle>
            <a:lvl1pPr marL="0" indent="0">
              <a:buNone/>
              <a:defRPr sz="2000"/>
            </a:lvl1pPr>
          </a:lstStyle>
          <a:p>
            <a:pPr lvl="0"/>
            <a:r>
              <a:rPr lang="es-ES"/>
              <a:t>Subtítulo</a:t>
            </a:r>
            <a:endParaRPr lang="es-CL"/>
          </a:p>
        </p:txBody>
      </p:sp>
    </p:spTree>
    <p:extLst>
      <p:ext uri="{BB962C8B-B14F-4D97-AF65-F5344CB8AC3E}">
        <p14:creationId xmlns:p14="http://schemas.microsoft.com/office/powerpoint/2010/main" val="830863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olo el título">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85EC41B0-BE65-4DD6-8755-2139ABC92E75}"/>
              </a:ext>
            </a:extLst>
          </p:cNvPr>
          <p:cNvSpPr/>
          <p:nvPr userDrawn="1"/>
        </p:nvSpPr>
        <p:spPr>
          <a:xfrm>
            <a:off x="0" y="1348003"/>
            <a:ext cx="12192000" cy="52131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7C3830FD-2246-42AB-A9FC-7B0CC83FBD20}"/>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C1B86853-C40F-439A-934E-F806D5C23D51}"/>
              </a:ext>
            </a:extLst>
          </p:cNvPr>
          <p:cNvSpPr>
            <a:spLocks noGrp="1"/>
          </p:cNvSpPr>
          <p:nvPr>
            <p:ph type="dt" sz="half" idx="10"/>
          </p:nvPr>
        </p:nvSpPr>
        <p:spPr/>
        <p:txBody>
          <a:bodyPr/>
          <a:lstStyle/>
          <a:p>
            <a:fld id="{8728702D-911B-4688-B8F1-E94AF442AFEE}" type="datetime1">
              <a:rPr lang="es-CL" smtClean="0"/>
              <a:t>04-11-2024</a:t>
            </a:fld>
            <a:endParaRPr lang="es-CL"/>
          </a:p>
        </p:txBody>
      </p:sp>
      <p:sp>
        <p:nvSpPr>
          <p:cNvPr id="4" name="Marcador de pie de página 3">
            <a:extLst>
              <a:ext uri="{FF2B5EF4-FFF2-40B4-BE49-F238E27FC236}">
                <a16:creationId xmlns:a16="http://schemas.microsoft.com/office/drawing/2014/main" id="{F0C4EEA2-B008-4597-92EE-EDC25AF43838}"/>
              </a:ext>
            </a:extLst>
          </p:cNvPr>
          <p:cNvSpPr>
            <a:spLocks noGrp="1"/>
          </p:cNvSpPr>
          <p:nvPr>
            <p:ph type="ftr" sz="quarter" idx="11"/>
          </p:nvPr>
        </p:nvSpPr>
        <p:spPr/>
        <p:txBody>
          <a:bodyPr/>
          <a:lstStyle/>
          <a:p>
            <a:r>
              <a:rPr lang="es-CL"/>
              <a:t>Transporte sostenible - División de Energías Sostenibles</a:t>
            </a:r>
          </a:p>
        </p:txBody>
      </p:sp>
      <p:sp>
        <p:nvSpPr>
          <p:cNvPr id="5" name="Marcador de número de diapositiva 4">
            <a:extLst>
              <a:ext uri="{FF2B5EF4-FFF2-40B4-BE49-F238E27FC236}">
                <a16:creationId xmlns:a16="http://schemas.microsoft.com/office/drawing/2014/main" id="{C885CEED-E4F4-4711-A4E8-280F1D64353A}"/>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
        <p:nvSpPr>
          <p:cNvPr id="6" name="Marcador de texto 8">
            <a:extLst>
              <a:ext uri="{FF2B5EF4-FFF2-40B4-BE49-F238E27FC236}">
                <a16:creationId xmlns:a16="http://schemas.microsoft.com/office/drawing/2014/main" id="{7D432F17-5A54-47CE-BD0A-030502A949ED}"/>
              </a:ext>
            </a:extLst>
          </p:cNvPr>
          <p:cNvSpPr>
            <a:spLocks noGrp="1"/>
          </p:cNvSpPr>
          <p:nvPr>
            <p:ph type="body" sz="quarter" idx="13" hasCustomPrompt="1"/>
          </p:nvPr>
        </p:nvSpPr>
        <p:spPr>
          <a:xfrm>
            <a:off x="623888" y="1052513"/>
            <a:ext cx="9477375" cy="288925"/>
          </a:xfrm>
        </p:spPr>
        <p:txBody>
          <a:bodyPr anchor="ctr">
            <a:noAutofit/>
          </a:bodyPr>
          <a:lstStyle>
            <a:lvl1pPr marL="0" indent="0">
              <a:buNone/>
              <a:defRPr sz="2000"/>
            </a:lvl1pPr>
          </a:lstStyle>
          <a:p>
            <a:pPr lvl="0"/>
            <a:r>
              <a:rPr lang="es-ES"/>
              <a:t>Subtítulo</a:t>
            </a:r>
            <a:endParaRPr lang="es-CL"/>
          </a:p>
        </p:txBody>
      </p:sp>
    </p:spTree>
    <p:extLst>
      <p:ext uri="{BB962C8B-B14F-4D97-AF65-F5344CB8AC3E}">
        <p14:creationId xmlns:p14="http://schemas.microsoft.com/office/powerpoint/2010/main" val="209788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1_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44A07086-F3B5-4DEB-B78A-5C39A44FF225}"/>
              </a:ext>
            </a:extLst>
          </p:cNvPr>
          <p:cNvSpPr>
            <a:spLocks noGrp="1"/>
          </p:cNvSpPr>
          <p:nvPr>
            <p:ph type="dt" sz="half" idx="10"/>
          </p:nvPr>
        </p:nvSpPr>
        <p:spPr/>
        <p:txBody>
          <a:bodyPr/>
          <a:lstStyle/>
          <a:p>
            <a:fld id="{98B3CF9D-2CA5-401B-99DA-4ED8B7EA372F}" type="datetime1">
              <a:rPr lang="es-CL" smtClean="0"/>
              <a:t>04-11-2024</a:t>
            </a:fld>
            <a:endParaRPr lang="es-CL"/>
          </a:p>
        </p:txBody>
      </p:sp>
      <p:sp>
        <p:nvSpPr>
          <p:cNvPr id="3" name="Marcador de pie de página 2">
            <a:extLst>
              <a:ext uri="{FF2B5EF4-FFF2-40B4-BE49-F238E27FC236}">
                <a16:creationId xmlns:a16="http://schemas.microsoft.com/office/drawing/2014/main" id="{888EB2DA-DCBF-4EE0-9742-EC0671829BFF}"/>
              </a:ext>
            </a:extLst>
          </p:cNvPr>
          <p:cNvSpPr>
            <a:spLocks noGrp="1"/>
          </p:cNvSpPr>
          <p:nvPr>
            <p:ph type="ftr" sz="quarter" idx="11"/>
          </p:nvPr>
        </p:nvSpPr>
        <p:spPr/>
        <p:txBody>
          <a:bodyPr/>
          <a:lstStyle/>
          <a:p>
            <a:r>
              <a:rPr lang="es-CL"/>
              <a:t>Transporte sostenible - División de Energías Sostenibles</a:t>
            </a:r>
          </a:p>
        </p:txBody>
      </p:sp>
      <p:sp>
        <p:nvSpPr>
          <p:cNvPr id="4" name="Marcador de número de diapositiva 3">
            <a:extLst>
              <a:ext uri="{FF2B5EF4-FFF2-40B4-BE49-F238E27FC236}">
                <a16:creationId xmlns:a16="http://schemas.microsoft.com/office/drawing/2014/main" id="{4DB12E65-6DD0-4556-8D16-2E4266BDFF1E}"/>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Tree>
    <p:extLst>
      <p:ext uri="{BB962C8B-B14F-4D97-AF65-F5344CB8AC3E}">
        <p14:creationId xmlns:p14="http://schemas.microsoft.com/office/powerpoint/2010/main" val="9934310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16D4888-9730-46D1-8239-A649EA1EE1D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BFFD9475-CFC8-4924-A841-4253C9D8F8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texto 3">
            <a:extLst>
              <a:ext uri="{FF2B5EF4-FFF2-40B4-BE49-F238E27FC236}">
                <a16:creationId xmlns:a16="http://schemas.microsoft.com/office/drawing/2014/main" id="{954E329E-01FA-4B3F-BC7D-B65AA77AB3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BE4AF395-D12F-496A-B8DF-4182D53D7C7D}"/>
              </a:ext>
            </a:extLst>
          </p:cNvPr>
          <p:cNvSpPr>
            <a:spLocks noGrp="1"/>
          </p:cNvSpPr>
          <p:nvPr>
            <p:ph type="dt" sz="half" idx="10"/>
          </p:nvPr>
        </p:nvSpPr>
        <p:spPr/>
        <p:txBody>
          <a:bodyPr/>
          <a:lstStyle/>
          <a:p>
            <a:fld id="{E6E5B060-3583-47FB-84E0-5FBD9594950C}" type="datetime1">
              <a:rPr lang="es-CL" smtClean="0"/>
              <a:t>04-11-2024</a:t>
            </a:fld>
            <a:endParaRPr lang="es-CL"/>
          </a:p>
        </p:txBody>
      </p:sp>
      <p:sp>
        <p:nvSpPr>
          <p:cNvPr id="6" name="Marcador de pie de página 5">
            <a:extLst>
              <a:ext uri="{FF2B5EF4-FFF2-40B4-BE49-F238E27FC236}">
                <a16:creationId xmlns:a16="http://schemas.microsoft.com/office/drawing/2014/main" id="{3987459D-74D4-4538-B0AC-245FBC86A680}"/>
              </a:ext>
            </a:extLst>
          </p:cNvPr>
          <p:cNvSpPr>
            <a:spLocks noGrp="1"/>
          </p:cNvSpPr>
          <p:nvPr>
            <p:ph type="ftr" sz="quarter" idx="11"/>
          </p:nvPr>
        </p:nvSpPr>
        <p:spPr/>
        <p:txBody>
          <a:bodyPr/>
          <a:lstStyle/>
          <a:p>
            <a:r>
              <a:rPr lang="es-CL"/>
              <a:t>Transporte sostenible - División de Energías Sostenibles</a:t>
            </a:r>
          </a:p>
        </p:txBody>
      </p:sp>
      <p:sp>
        <p:nvSpPr>
          <p:cNvPr id="7" name="Marcador de número de diapositiva 6">
            <a:extLst>
              <a:ext uri="{FF2B5EF4-FFF2-40B4-BE49-F238E27FC236}">
                <a16:creationId xmlns:a16="http://schemas.microsoft.com/office/drawing/2014/main" id="{E6418C23-FDB7-4508-9D62-01A59A55D770}"/>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Tree>
    <p:extLst>
      <p:ext uri="{BB962C8B-B14F-4D97-AF65-F5344CB8AC3E}">
        <p14:creationId xmlns:p14="http://schemas.microsoft.com/office/powerpoint/2010/main" val="37408099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EA15135-DE26-4E0E-8147-D490C50F0A83}"/>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id="{865FD688-E215-4248-9823-05B8D8AE2CC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id="{21DE304F-8203-4A1C-8DBB-58E638DA6B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897651DD-B180-4D82-B145-4EEF26992E83}"/>
              </a:ext>
            </a:extLst>
          </p:cNvPr>
          <p:cNvSpPr>
            <a:spLocks noGrp="1"/>
          </p:cNvSpPr>
          <p:nvPr>
            <p:ph type="dt" sz="half" idx="10"/>
          </p:nvPr>
        </p:nvSpPr>
        <p:spPr/>
        <p:txBody>
          <a:bodyPr/>
          <a:lstStyle/>
          <a:p>
            <a:fld id="{4B731FF1-042A-4BFD-8F30-E10C13C8BE75}" type="datetime1">
              <a:rPr lang="es-CL" smtClean="0"/>
              <a:t>04-11-2024</a:t>
            </a:fld>
            <a:endParaRPr lang="es-CL"/>
          </a:p>
        </p:txBody>
      </p:sp>
      <p:sp>
        <p:nvSpPr>
          <p:cNvPr id="6" name="Marcador de pie de página 5">
            <a:extLst>
              <a:ext uri="{FF2B5EF4-FFF2-40B4-BE49-F238E27FC236}">
                <a16:creationId xmlns:a16="http://schemas.microsoft.com/office/drawing/2014/main" id="{420DC805-3920-4448-ADFB-5A3672FE83DA}"/>
              </a:ext>
            </a:extLst>
          </p:cNvPr>
          <p:cNvSpPr>
            <a:spLocks noGrp="1"/>
          </p:cNvSpPr>
          <p:nvPr>
            <p:ph type="ftr" sz="quarter" idx="11"/>
          </p:nvPr>
        </p:nvSpPr>
        <p:spPr/>
        <p:txBody>
          <a:bodyPr/>
          <a:lstStyle/>
          <a:p>
            <a:r>
              <a:rPr lang="es-CL"/>
              <a:t>Transporte sostenible - División de Energías Sostenibles</a:t>
            </a:r>
          </a:p>
        </p:txBody>
      </p:sp>
      <p:sp>
        <p:nvSpPr>
          <p:cNvPr id="7" name="Marcador de número de diapositiva 6">
            <a:extLst>
              <a:ext uri="{FF2B5EF4-FFF2-40B4-BE49-F238E27FC236}">
                <a16:creationId xmlns:a16="http://schemas.microsoft.com/office/drawing/2014/main" id="{7FCCC127-BB25-4851-A27D-67CE4FB59D34}"/>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Tree>
    <p:extLst>
      <p:ext uri="{BB962C8B-B14F-4D97-AF65-F5344CB8AC3E}">
        <p14:creationId xmlns:p14="http://schemas.microsoft.com/office/powerpoint/2010/main" val="12028214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4E69D84-AB56-4E8D-95F8-6054D2A0A578}"/>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FC0409C0-89A3-4295-9930-D8A58655CBED}"/>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706C1F2C-464A-4027-A7BF-24301EF92F89}"/>
              </a:ext>
            </a:extLst>
          </p:cNvPr>
          <p:cNvSpPr>
            <a:spLocks noGrp="1"/>
          </p:cNvSpPr>
          <p:nvPr>
            <p:ph type="dt" sz="half" idx="10"/>
          </p:nvPr>
        </p:nvSpPr>
        <p:spPr/>
        <p:txBody>
          <a:bodyPr/>
          <a:lstStyle/>
          <a:p>
            <a:fld id="{26926A25-BEDD-44DE-A98D-F3E6CB2B152F}" type="datetime1">
              <a:rPr lang="es-CL" smtClean="0"/>
              <a:t>04-11-2024</a:t>
            </a:fld>
            <a:endParaRPr lang="es-CL"/>
          </a:p>
        </p:txBody>
      </p:sp>
      <p:sp>
        <p:nvSpPr>
          <p:cNvPr id="5" name="Marcador de pie de página 4">
            <a:extLst>
              <a:ext uri="{FF2B5EF4-FFF2-40B4-BE49-F238E27FC236}">
                <a16:creationId xmlns:a16="http://schemas.microsoft.com/office/drawing/2014/main" id="{33BA1F86-50C5-4EA3-8E15-16824056BFF3}"/>
              </a:ext>
            </a:extLst>
          </p:cNvPr>
          <p:cNvSpPr>
            <a:spLocks noGrp="1"/>
          </p:cNvSpPr>
          <p:nvPr>
            <p:ph type="ftr" sz="quarter" idx="11"/>
          </p:nvPr>
        </p:nvSpPr>
        <p:spPr/>
        <p:txBody>
          <a:bodyPr/>
          <a:lstStyle/>
          <a:p>
            <a:r>
              <a:rPr lang="es-CL"/>
              <a:t>Transporte sostenible - División de Energías Sostenibles</a:t>
            </a:r>
          </a:p>
        </p:txBody>
      </p:sp>
      <p:sp>
        <p:nvSpPr>
          <p:cNvPr id="6" name="Marcador de número de diapositiva 5">
            <a:extLst>
              <a:ext uri="{FF2B5EF4-FFF2-40B4-BE49-F238E27FC236}">
                <a16:creationId xmlns:a16="http://schemas.microsoft.com/office/drawing/2014/main" id="{3DFBA3C9-8EBC-4CCE-90BD-09758CE89D0A}"/>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
        <p:nvSpPr>
          <p:cNvPr id="7" name="Marcador de texto 8">
            <a:extLst>
              <a:ext uri="{FF2B5EF4-FFF2-40B4-BE49-F238E27FC236}">
                <a16:creationId xmlns:a16="http://schemas.microsoft.com/office/drawing/2014/main" id="{0273ED18-29E3-4151-A157-468040E03BB4}"/>
              </a:ext>
            </a:extLst>
          </p:cNvPr>
          <p:cNvSpPr>
            <a:spLocks noGrp="1"/>
          </p:cNvSpPr>
          <p:nvPr>
            <p:ph type="body" sz="quarter" idx="13" hasCustomPrompt="1"/>
          </p:nvPr>
        </p:nvSpPr>
        <p:spPr>
          <a:xfrm>
            <a:off x="623888" y="1052513"/>
            <a:ext cx="9477375" cy="288925"/>
          </a:xfrm>
        </p:spPr>
        <p:txBody>
          <a:bodyPr anchor="ctr">
            <a:noAutofit/>
          </a:bodyPr>
          <a:lstStyle>
            <a:lvl1pPr marL="0" indent="0">
              <a:buNone/>
              <a:defRPr sz="2000"/>
            </a:lvl1pPr>
          </a:lstStyle>
          <a:p>
            <a:pPr lvl="0"/>
            <a:r>
              <a:rPr lang="es-ES"/>
              <a:t>Subtítulo</a:t>
            </a:r>
            <a:endParaRPr lang="es-CL"/>
          </a:p>
        </p:txBody>
      </p:sp>
    </p:spTree>
    <p:extLst>
      <p:ext uri="{BB962C8B-B14F-4D97-AF65-F5344CB8AC3E}">
        <p14:creationId xmlns:p14="http://schemas.microsoft.com/office/powerpoint/2010/main" val="41662199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3AAF2B73-358B-4BC5-9F09-9820924E87C3}"/>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2B8F8558-3FA0-4F29-B9C4-DC6C67CB71E9}"/>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BDB4315B-6E83-425C-9333-5F3A4739262E}"/>
              </a:ext>
            </a:extLst>
          </p:cNvPr>
          <p:cNvSpPr>
            <a:spLocks noGrp="1"/>
          </p:cNvSpPr>
          <p:nvPr>
            <p:ph type="dt" sz="half" idx="10"/>
          </p:nvPr>
        </p:nvSpPr>
        <p:spPr/>
        <p:txBody>
          <a:bodyPr/>
          <a:lstStyle/>
          <a:p>
            <a:fld id="{E0661543-EDBF-4DCB-BF8E-CFD5EB4259DC}" type="datetime1">
              <a:rPr lang="es-CL" smtClean="0"/>
              <a:t>04-11-2024</a:t>
            </a:fld>
            <a:endParaRPr lang="es-CL"/>
          </a:p>
        </p:txBody>
      </p:sp>
      <p:sp>
        <p:nvSpPr>
          <p:cNvPr id="5" name="Marcador de pie de página 4">
            <a:extLst>
              <a:ext uri="{FF2B5EF4-FFF2-40B4-BE49-F238E27FC236}">
                <a16:creationId xmlns:a16="http://schemas.microsoft.com/office/drawing/2014/main" id="{5FFFE6B7-FCEA-40A0-BA67-3CC5BF417BFE}"/>
              </a:ext>
            </a:extLst>
          </p:cNvPr>
          <p:cNvSpPr>
            <a:spLocks noGrp="1"/>
          </p:cNvSpPr>
          <p:nvPr>
            <p:ph type="ftr" sz="quarter" idx="11"/>
          </p:nvPr>
        </p:nvSpPr>
        <p:spPr/>
        <p:txBody>
          <a:bodyPr/>
          <a:lstStyle/>
          <a:p>
            <a:r>
              <a:rPr lang="es-CL"/>
              <a:t>Transporte sostenible - División de Energías Sostenibles</a:t>
            </a:r>
          </a:p>
        </p:txBody>
      </p:sp>
      <p:sp>
        <p:nvSpPr>
          <p:cNvPr id="6" name="Marcador de número de diapositiva 5">
            <a:extLst>
              <a:ext uri="{FF2B5EF4-FFF2-40B4-BE49-F238E27FC236}">
                <a16:creationId xmlns:a16="http://schemas.microsoft.com/office/drawing/2014/main" id="{2939BD45-733F-4E1A-94D0-9596C8E4283A}"/>
              </a:ext>
            </a:extLst>
          </p:cNvPr>
          <p:cNvSpPr>
            <a:spLocks noGrp="1"/>
          </p:cNvSpPr>
          <p:nvPr>
            <p:ph type="sldNum" sz="quarter" idx="12"/>
          </p:nvPr>
        </p:nvSpPr>
        <p:spPr/>
        <p:txBody>
          <a:bodyPr/>
          <a:lstStyle/>
          <a:p>
            <a:r>
              <a:rPr lang="es-CL"/>
              <a:t>|   </a:t>
            </a:r>
            <a:fld id="{785CD681-51D3-414E-83F2-54688883A8C2}" type="slidenum">
              <a:rPr lang="es-CL" smtClean="0"/>
              <a:pPr/>
              <a:t>‹Nº›</a:t>
            </a:fld>
            <a:endParaRPr lang="es-CL"/>
          </a:p>
        </p:txBody>
      </p:sp>
    </p:spTree>
    <p:extLst>
      <p:ext uri="{BB962C8B-B14F-4D97-AF65-F5344CB8AC3E}">
        <p14:creationId xmlns:p14="http://schemas.microsoft.com/office/powerpoint/2010/main" val="10059623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3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914401" y="2130430"/>
            <a:ext cx="10363200" cy="1470025"/>
          </a:xfrm>
          <a:prstGeom prst="rect">
            <a:avLst/>
          </a:prstGeom>
        </p:spPr>
        <p:txBody>
          <a:bodyPr lIns="68589" tIns="34295" rIns="68589" bIns="34295"/>
          <a:lstStyle/>
          <a:p>
            <a:r>
              <a:rPr lang="es-ES"/>
              <a:t>Haga clic para modificar el estilo de título del patrón</a:t>
            </a:r>
          </a:p>
        </p:txBody>
      </p:sp>
      <p:sp>
        <p:nvSpPr>
          <p:cNvPr id="3" name="Subtítulo 2"/>
          <p:cNvSpPr>
            <a:spLocks noGrp="1"/>
          </p:cNvSpPr>
          <p:nvPr>
            <p:ph type="subTitle" idx="1"/>
          </p:nvPr>
        </p:nvSpPr>
        <p:spPr>
          <a:xfrm>
            <a:off x="1828800" y="3886200"/>
            <a:ext cx="8534400" cy="1752600"/>
          </a:xfrm>
          <a:prstGeom prst="rect">
            <a:avLst/>
          </a:prstGeom>
        </p:spPr>
        <p:txBody>
          <a:bodyPr lIns="68589" tIns="34295" rIns="68589" bIns="34295"/>
          <a:lstStyle>
            <a:lvl1pPr marL="0" indent="0" algn="ctr">
              <a:buNone/>
              <a:defRPr>
                <a:solidFill>
                  <a:schemeClr val="tx1">
                    <a:tint val="75000"/>
                  </a:schemeClr>
                </a:solidFill>
              </a:defRPr>
            </a:lvl1pPr>
            <a:lvl2pPr marL="614818" indent="0" algn="ctr">
              <a:buNone/>
              <a:defRPr>
                <a:solidFill>
                  <a:schemeClr val="tx1">
                    <a:tint val="75000"/>
                  </a:schemeClr>
                </a:solidFill>
              </a:defRPr>
            </a:lvl2pPr>
            <a:lvl3pPr marL="1229635" indent="0" algn="ctr">
              <a:buNone/>
              <a:defRPr>
                <a:solidFill>
                  <a:schemeClr val="tx1">
                    <a:tint val="75000"/>
                  </a:schemeClr>
                </a:solidFill>
              </a:defRPr>
            </a:lvl3pPr>
            <a:lvl4pPr marL="1844453" indent="0" algn="ctr">
              <a:buNone/>
              <a:defRPr>
                <a:solidFill>
                  <a:schemeClr val="tx1">
                    <a:tint val="75000"/>
                  </a:schemeClr>
                </a:solidFill>
              </a:defRPr>
            </a:lvl4pPr>
            <a:lvl5pPr marL="2459271" indent="0" algn="ctr">
              <a:buNone/>
              <a:defRPr>
                <a:solidFill>
                  <a:schemeClr val="tx1">
                    <a:tint val="75000"/>
                  </a:schemeClr>
                </a:solidFill>
              </a:defRPr>
            </a:lvl5pPr>
            <a:lvl6pPr marL="3074088" indent="0" algn="ctr">
              <a:buNone/>
              <a:defRPr>
                <a:solidFill>
                  <a:schemeClr val="tx1">
                    <a:tint val="75000"/>
                  </a:schemeClr>
                </a:solidFill>
              </a:defRPr>
            </a:lvl6pPr>
            <a:lvl7pPr marL="3688906" indent="0" algn="ctr">
              <a:buNone/>
              <a:defRPr>
                <a:solidFill>
                  <a:schemeClr val="tx1">
                    <a:tint val="75000"/>
                  </a:schemeClr>
                </a:solidFill>
              </a:defRPr>
            </a:lvl7pPr>
            <a:lvl8pPr marL="4303724" indent="0" algn="ctr">
              <a:buNone/>
              <a:defRPr>
                <a:solidFill>
                  <a:schemeClr val="tx1">
                    <a:tint val="75000"/>
                  </a:schemeClr>
                </a:solidFill>
              </a:defRPr>
            </a:lvl8pPr>
            <a:lvl9pPr marL="4918542" indent="0" algn="ctr">
              <a:buNone/>
              <a:defRPr>
                <a:solidFill>
                  <a:schemeClr val="tx1">
                    <a:tint val="75000"/>
                  </a:schemeClr>
                </a:solidFill>
              </a:defRPr>
            </a:lvl9pPr>
          </a:lstStyle>
          <a:p>
            <a:r>
              <a:rPr lang="es-ES"/>
              <a:t>Haga clic para modificar el estilo de subtítulo del patrón</a:t>
            </a:r>
          </a:p>
        </p:txBody>
      </p:sp>
      <p:sp>
        <p:nvSpPr>
          <p:cNvPr id="4" name="Marcador de fecha 3"/>
          <p:cNvSpPr>
            <a:spLocks noGrp="1"/>
          </p:cNvSpPr>
          <p:nvPr>
            <p:ph type="dt" sz="half" idx="10"/>
          </p:nvPr>
        </p:nvSpPr>
        <p:spPr>
          <a:xfrm>
            <a:off x="609600" y="6356352"/>
            <a:ext cx="2844800" cy="365125"/>
          </a:xfrm>
          <a:prstGeom prst="rect">
            <a:avLst/>
          </a:prstGeom>
        </p:spPr>
        <p:txBody>
          <a:bodyPr lIns="68589" tIns="34295" rIns="68589" bIns="34295"/>
          <a:lstStyle/>
          <a:p>
            <a:fld id="{160E45F2-45AA-4329-8327-9A93A1AA1847}" type="datetime1">
              <a:rPr lang="es-CL" smtClean="0"/>
              <a:t>04-11-2024</a:t>
            </a:fld>
            <a:endParaRPr lang="es-ES"/>
          </a:p>
        </p:txBody>
      </p:sp>
      <p:sp>
        <p:nvSpPr>
          <p:cNvPr id="5" name="Marcador de pie de página 4"/>
          <p:cNvSpPr>
            <a:spLocks noGrp="1"/>
          </p:cNvSpPr>
          <p:nvPr>
            <p:ph type="ftr" sz="quarter" idx="11"/>
          </p:nvPr>
        </p:nvSpPr>
        <p:spPr>
          <a:xfrm>
            <a:off x="4165601" y="6356352"/>
            <a:ext cx="3860800" cy="365125"/>
          </a:xfrm>
          <a:prstGeom prst="rect">
            <a:avLst/>
          </a:prstGeom>
        </p:spPr>
        <p:txBody>
          <a:bodyPr lIns="68589" tIns="34295" rIns="68589" bIns="34295"/>
          <a:lstStyle/>
          <a:p>
            <a:r>
              <a:rPr lang="es-CL"/>
              <a:t>Transporte sostenible - División de Energías Sostenibles</a:t>
            </a:r>
            <a:endParaRPr lang="es-ES"/>
          </a:p>
        </p:txBody>
      </p:sp>
      <p:sp>
        <p:nvSpPr>
          <p:cNvPr id="6" name="Marcador de número de diapositiva 5"/>
          <p:cNvSpPr>
            <a:spLocks noGrp="1"/>
          </p:cNvSpPr>
          <p:nvPr>
            <p:ph type="sldNum" sz="quarter" idx="12"/>
          </p:nvPr>
        </p:nvSpPr>
        <p:spPr>
          <a:xfrm>
            <a:off x="8737601" y="6356352"/>
            <a:ext cx="2844800" cy="365125"/>
          </a:xfrm>
          <a:prstGeom prst="rect">
            <a:avLst/>
          </a:prstGeom>
        </p:spPr>
        <p:txBody>
          <a:bodyPr lIns="68589" tIns="34295" rIns="68589" bIns="34295"/>
          <a:lstStyle/>
          <a:p>
            <a:fld id="{339DE33B-29C3-A64D-9297-00A5A1600F58}" type="slidenum">
              <a:rPr lang="es-ES" smtClean="0"/>
              <a:t>‹Nº›</a:t>
            </a:fld>
            <a:endParaRPr lang="es-ES"/>
          </a:p>
        </p:txBody>
      </p:sp>
    </p:spTree>
    <p:extLst>
      <p:ext uri="{BB962C8B-B14F-4D97-AF65-F5344CB8AC3E}">
        <p14:creationId xmlns:p14="http://schemas.microsoft.com/office/powerpoint/2010/main" val="32378680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95674" y="6641564"/>
            <a:ext cx="10774129" cy="154281"/>
          </a:xfrm>
          <a:prstGeom prst="rect">
            <a:avLst/>
          </a:prstGeom>
        </p:spPr>
        <p:txBody>
          <a:bodyPr/>
          <a:lstStyle>
            <a:lvl1pPr marL="590106" indent="-590106">
              <a:tabLst>
                <a:tab pos="546929" algn="r"/>
              </a:tabLst>
              <a:defRPr sz="1000"/>
            </a:lvl1pPr>
          </a:lstStyle>
          <a:p>
            <a:pPr lvl="0"/>
            <a:r>
              <a:rPr lang="en-US"/>
              <a:t>Click to edit Master text styles</a:t>
            </a:r>
            <a:endParaRPr lang="es-CL"/>
          </a:p>
        </p:txBody>
      </p:sp>
      <p:sp>
        <p:nvSpPr>
          <p:cNvPr id="5" name="Title 4"/>
          <p:cNvSpPr>
            <a:spLocks noGrp="1" noChangeArrowheads="1"/>
          </p:cNvSpPr>
          <p:nvPr>
            <p:ph type="title"/>
          </p:nvPr>
        </p:nvSpPr>
        <p:spPr bwMode="auto">
          <a:xfrm>
            <a:off x="195675" y="179847"/>
            <a:ext cx="10944000" cy="293134"/>
          </a:xfrm>
          <a:prstGeom prst="rect">
            <a:avLst/>
          </a:prstGeom>
          <a:noFill/>
          <a:ln w="9525">
            <a:noFill/>
            <a:miter lim="800000"/>
            <a:headEnd/>
            <a:tailEnd/>
          </a:ln>
        </p:spPr>
        <p:txBody>
          <a:bodyPr/>
          <a:lstStyle/>
          <a:p>
            <a:pPr lvl="0"/>
            <a:r>
              <a:rPr lang="en-US"/>
              <a:t>Click to edit Master title style</a:t>
            </a:r>
            <a:endParaRPr lang="es-CL"/>
          </a:p>
        </p:txBody>
      </p:sp>
      <p:sp>
        <p:nvSpPr>
          <p:cNvPr id="4" name="Rectangle 17"/>
          <p:cNvSpPr>
            <a:spLocks noGrp="1" noChangeArrowheads="1"/>
          </p:cNvSpPr>
          <p:nvPr>
            <p:ph type="sldNum" sz="quarter" idx="12"/>
          </p:nvPr>
        </p:nvSpPr>
        <p:spPr/>
        <p:txBody>
          <a:bodyPr/>
          <a:lstStyle>
            <a:lvl1pPr>
              <a:defRPr/>
            </a:lvl1pPr>
          </a:lstStyle>
          <a:p>
            <a:fld id="{3EE85DA4-ED61-4E35-8D82-94D7B9A48E06}" type="slidenum">
              <a:rPr lang="es-CL" altLang="es-CL"/>
              <a:pPr/>
              <a:t>‹Nº›</a:t>
            </a:fld>
            <a:endParaRPr lang="es-CL" altLang="es-CL"/>
          </a:p>
        </p:txBody>
      </p:sp>
    </p:spTree>
    <p:extLst>
      <p:ext uri="{BB962C8B-B14F-4D97-AF65-F5344CB8AC3E}">
        <p14:creationId xmlns:p14="http://schemas.microsoft.com/office/powerpoint/2010/main" val="38415423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418354E2-5D21-4C82-99D2-9D65395A42E1}"/>
              </a:ext>
            </a:extLst>
          </p:cNvPr>
          <p:cNvSpPr/>
          <p:nvPr userDrawn="1"/>
        </p:nvSpPr>
        <p:spPr>
          <a:xfrm>
            <a:off x="623888" y="296863"/>
            <a:ext cx="5472112" cy="6264276"/>
          </a:xfrm>
          <a:prstGeom prst="rect">
            <a:avLst/>
          </a:prstGeom>
          <a:solidFill>
            <a:srgbClr val="001F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rgbClr val="354B6D"/>
              </a:solidFill>
            </a:endParaRPr>
          </a:p>
        </p:txBody>
      </p:sp>
      <p:sp>
        <p:nvSpPr>
          <p:cNvPr id="8" name="Rectángulo 7">
            <a:extLst>
              <a:ext uri="{FF2B5EF4-FFF2-40B4-BE49-F238E27FC236}">
                <a16:creationId xmlns:a16="http://schemas.microsoft.com/office/drawing/2014/main" id="{450FA9CE-DBE5-49FF-9832-17BE7FA4124F}"/>
              </a:ext>
            </a:extLst>
          </p:cNvPr>
          <p:cNvSpPr/>
          <p:nvPr/>
        </p:nvSpPr>
        <p:spPr>
          <a:xfrm>
            <a:off x="623888" y="2845938"/>
            <a:ext cx="5472112" cy="37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rgbClr val="354B6D"/>
              </a:solidFill>
            </a:endParaRPr>
          </a:p>
        </p:txBody>
      </p:sp>
      <p:sp>
        <p:nvSpPr>
          <p:cNvPr id="3" name="Subtítulo 2">
            <a:extLst>
              <a:ext uri="{FF2B5EF4-FFF2-40B4-BE49-F238E27FC236}">
                <a16:creationId xmlns:a16="http://schemas.microsoft.com/office/drawing/2014/main" id="{EBF92673-24A0-4AC2-B19C-9365817272C4}"/>
              </a:ext>
            </a:extLst>
          </p:cNvPr>
          <p:cNvSpPr>
            <a:spLocks noGrp="1"/>
          </p:cNvSpPr>
          <p:nvPr userDrawn="1">
            <p:ph type="subTitle" idx="1" hasCustomPrompt="1"/>
          </p:nvPr>
        </p:nvSpPr>
        <p:spPr>
          <a:xfrm>
            <a:off x="911407" y="2381327"/>
            <a:ext cx="4740075" cy="2322211"/>
          </a:xfrm>
        </p:spPr>
        <p:txBody>
          <a:bodyPr>
            <a:noAutofit/>
          </a:bodyPr>
          <a:lstStyle>
            <a:lvl1pPr marL="457200" indent="-457200" algn="l">
              <a:buFont typeface="+mj-lt"/>
              <a:buAutoNum type="arabicPeriod"/>
              <a:defRPr sz="21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Contenido</a:t>
            </a:r>
          </a:p>
          <a:p>
            <a:endParaRPr lang="es-ES"/>
          </a:p>
          <a:p>
            <a:r>
              <a:rPr lang="es-ES"/>
              <a:t>Contenido</a:t>
            </a:r>
          </a:p>
          <a:p>
            <a:endParaRPr lang="es-ES"/>
          </a:p>
          <a:p>
            <a:r>
              <a:rPr lang="es-ES"/>
              <a:t>Contenido</a:t>
            </a:r>
            <a:endParaRPr lang="es-CL"/>
          </a:p>
        </p:txBody>
      </p:sp>
      <p:sp>
        <p:nvSpPr>
          <p:cNvPr id="2" name="Título 1">
            <a:extLst>
              <a:ext uri="{FF2B5EF4-FFF2-40B4-BE49-F238E27FC236}">
                <a16:creationId xmlns:a16="http://schemas.microsoft.com/office/drawing/2014/main" id="{DCAFB713-40D8-4950-AFB0-4B603BB02678}"/>
              </a:ext>
            </a:extLst>
          </p:cNvPr>
          <p:cNvSpPr>
            <a:spLocks noGrp="1"/>
          </p:cNvSpPr>
          <p:nvPr userDrawn="1">
            <p:ph type="ctrTitle" hasCustomPrompt="1"/>
          </p:nvPr>
        </p:nvSpPr>
        <p:spPr>
          <a:xfrm>
            <a:off x="911407" y="1341438"/>
            <a:ext cx="4740075" cy="679782"/>
          </a:xfrm>
        </p:spPr>
        <p:txBody>
          <a:bodyPr anchor="b">
            <a:normAutofit/>
          </a:bodyPr>
          <a:lstStyle>
            <a:lvl1pPr algn="l">
              <a:defRPr sz="4000" b="1">
                <a:solidFill>
                  <a:schemeClr val="bg1"/>
                </a:solidFill>
              </a:defRPr>
            </a:lvl1pPr>
          </a:lstStyle>
          <a:p>
            <a:r>
              <a:rPr lang="es-ES"/>
              <a:t>CONTENIDO</a:t>
            </a:r>
            <a:endParaRPr lang="es-CL"/>
          </a:p>
        </p:txBody>
      </p:sp>
      <p:sp>
        <p:nvSpPr>
          <p:cNvPr id="13" name="Marcador de texto 12">
            <a:extLst>
              <a:ext uri="{FF2B5EF4-FFF2-40B4-BE49-F238E27FC236}">
                <a16:creationId xmlns:a16="http://schemas.microsoft.com/office/drawing/2014/main" id="{5971B7EB-4A56-48BB-B6F0-2EF8DAEA3732}"/>
              </a:ext>
            </a:extLst>
          </p:cNvPr>
          <p:cNvSpPr>
            <a:spLocks noGrp="1"/>
          </p:cNvSpPr>
          <p:nvPr>
            <p:ph type="body" sz="quarter" idx="10" hasCustomPrompt="1"/>
          </p:nvPr>
        </p:nvSpPr>
        <p:spPr>
          <a:xfrm>
            <a:off x="911407" y="6125932"/>
            <a:ext cx="4178268" cy="301625"/>
          </a:xfrm>
        </p:spPr>
        <p:txBody>
          <a:bodyPr>
            <a:noAutofit/>
          </a:bodyPr>
          <a:lstStyle>
            <a:lvl1pPr marL="0" indent="0">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s-ES"/>
              <a:t>Mes año</a:t>
            </a:r>
          </a:p>
        </p:txBody>
      </p:sp>
      <p:pic>
        <p:nvPicPr>
          <p:cNvPr id="12" name="Imagen 11">
            <a:extLst>
              <a:ext uri="{FF2B5EF4-FFF2-40B4-BE49-F238E27FC236}">
                <a16:creationId xmlns:a16="http://schemas.microsoft.com/office/drawing/2014/main" id="{D5B24242-DCE7-4529-88FA-B61DEB7FCE6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894618" y="0"/>
            <a:ext cx="2980341" cy="162140"/>
          </a:xfrm>
          <a:prstGeom prst="rect">
            <a:avLst/>
          </a:prstGeom>
        </p:spPr>
      </p:pic>
    </p:spTree>
    <p:extLst>
      <p:ext uri="{BB962C8B-B14F-4D97-AF65-F5344CB8AC3E}">
        <p14:creationId xmlns:p14="http://schemas.microsoft.com/office/powerpoint/2010/main" val="2616012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Imagen 15">
            <a:extLst>
              <a:ext uri="{FF2B5EF4-FFF2-40B4-BE49-F238E27FC236}">
                <a16:creationId xmlns:a16="http://schemas.microsoft.com/office/drawing/2014/main" id="{C9A204AC-6B1B-4673-BE64-7510CAD1D157}"/>
              </a:ext>
            </a:extLst>
          </p:cNvPr>
          <p:cNvPicPr>
            <a:picLocks noChangeAspect="1"/>
          </p:cNvPicPr>
          <p:nvPr userDrawn="1"/>
        </p:nvPicPr>
        <p:blipFill>
          <a:blip r:embed="rId3"/>
          <a:stretch>
            <a:fillRect/>
          </a:stretch>
        </p:blipFill>
        <p:spPr>
          <a:xfrm>
            <a:off x="6843304" y="3957920"/>
            <a:ext cx="4724809" cy="2603218"/>
          </a:xfrm>
          <a:prstGeom prst="rect">
            <a:avLst/>
          </a:prstGeom>
        </p:spPr>
      </p:pic>
      <p:sp>
        <p:nvSpPr>
          <p:cNvPr id="25" name="Marcador de texto 24">
            <a:extLst>
              <a:ext uri="{FF2B5EF4-FFF2-40B4-BE49-F238E27FC236}">
                <a16:creationId xmlns:a16="http://schemas.microsoft.com/office/drawing/2014/main" id="{39B59A33-01C2-48FA-87F4-810F99E262AC}"/>
              </a:ext>
            </a:extLst>
          </p:cNvPr>
          <p:cNvSpPr>
            <a:spLocks noGrp="1"/>
          </p:cNvSpPr>
          <p:nvPr>
            <p:ph type="body" sz="quarter" idx="10"/>
          </p:nvPr>
        </p:nvSpPr>
        <p:spPr>
          <a:xfrm>
            <a:off x="7877175" y="5553075"/>
            <a:ext cx="3409950" cy="666750"/>
          </a:xfrm>
        </p:spPr>
        <p:txBody>
          <a:bodyPr>
            <a:noAutofit/>
          </a:bodyPr>
          <a:lstStyle>
            <a:lvl1pPr marL="0" indent="0" algn="r">
              <a:buNone/>
              <a:defRPr sz="1500">
                <a:solidFill>
                  <a:schemeClr val="bg1"/>
                </a:solidFill>
              </a:defRPr>
            </a:lvl1pPr>
            <a:lvl2pPr marL="457200" indent="0">
              <a:buNone/>
              <a:defRPr sz="1500">
                <a:solidFill>
                  <a:schemeClr val="bg1"/>
                </a:solidFill>
              </a:defRPr>
            </a:lvl2pPr>
            <a:lvl3pPr marL="914400" indent="0">
              <a:buNone/>
              <a:defRPr sz="1500">
                <a:solidFill>
                  <a:schemeClr val="bg1"/>
                </a:solidFill>
              </a:defRPr>
            </a:lvl3pPr>
            <a:lvl4pPr marL="1371600" indent="0">
              <a:buNone/>
              <a:defRPr sz="1500">
                <a:solidFill>
                  <a:schemeClr val="bg1"/>
                </a:solidFill>
              </a:defRPr>
            </a:lvl4pPr>
            <a:lvl5pPr marL="1828800" indent="0">
              <a:buNone/>
              <a:defRPr sz="1500">
                <a:solidFill>
                  <a:schemeClr val="bg1"/>
                </a:solidFill>
              </a:defRPr>
            </a:lvl5pPr>
          </a:lstStyle>
          <a:p>
            <a:pPr lvl="0"/>
            <a:r>
              <a:rPr lang="es-ES"/>
              <a:t>Haga clic para modificar los estilos de texto</a:t>
            </a:r>
            <a:endParaRPr lang="es-CL"/>
          </a:p>
        </p:txBody>
      </p:sp>
      <p:sp>
        <p:nvSpPr>
          <p:cNvPr id="27" name="Marcador de texto 26">
            <a:extLst>
              <a:ext uri="{FF2B5EF4-FFF2-40B4-BE49-F238E27FC236}">
                <a16:creationId xmlns:a16="http://schemas.microsoft.com/office/drawing/2014/main" id="{323DB53B-7321-4526-A07C-BC2A417C26AC}"/>
              </a:ext>
            </a:extLst>
          </p:cNvPr>
          <p:cNvSpPr>
            <a:spLocks noGrp="1"/>
          </p:cNvSpPr>
          <p:nvPr>
            <p:ph type="body" sz="quarter" idx="11" hasCustomPrompt="1"/>
          </p:nvPr>
        </p:nvSpPr>
        <p:spPr>
          <a:xfrm>
            <a:off x="7877175" y="5172075"/>
            <a:ext cx="3409950" cy="381000"/>
          </a:xfrm>
        </p:spPr>
        <p:txBody>
          <a:bodyPr>
            <a:noAutofit/>
          </a:bodyPr>
          <a:lstStyle>
            <a:lvl1pPr marL="0" indent="0" algn="r">
              <a:buNone/>
              <a:defRPr sz="2400" b="1">
                <a:solidFill>
                  <a:schemeClr val="bg1"/>
                </a:solidFill>
                <a:latin typeface="+mj-lt"/>
              </a:defRPr>
            </a:lvl1pPr>
            <a:lvl2pPr marL="457200" indent="0">
              <a:buNone/>
              <a:defRPr sz="2400" b="1">
                <a:solidFill>
                  <a:schemeClr val="bg1"/>
                </a:solidFill>
                <a:latin typeface="+mj-lt"/>
              </a:defRPr>
            </a:lvl2pPr>
            <a:lvl3pPr marL="914400" indent="0">
              <a:buNone/>
              <a:defRPr sz="2400" b="1">
                <a:solidFill>
                  <a:schemeClr val="bg1"/>
                </a:solidFill>
                <a:latin typeface="+mj-lt"/>
              </a:defRPr>
            </a:lvl3pPr>
            <a:lvl4pPr marL="1371600" indent="0">
              <a:buNone/>
              <a:defRPr sz="2400" b="1">
                <a:solidFill>
                  <a:schemeClr val="bg1"/>
                </a:solidFill>
                <a:latin typeface="+mj-lt"/>
              </a:defRPr>
            </a:lvl4pPr>
            <a:lvl5pPr marL="1828800" indent="0">
              <a:buNone/>
              <a:defRPr sz="2400" b="1">
                <a:solidFill>
                  <a:schemeClr val="bg1"/>
                </a:solidFill>
                <a:latin typeface="+mj-lt"/>
              </a:defRPr>
            </a:lvl5pPr>
          </a:lstStyle>
          <a:p>
            <a:pPr lvl="0"/>
            <a:r>
              <a:rPr lang="es-ES"/>
              <a:t>Título</a:t>
            </a:r>
            <a:endParaRPr lang="es-CL"/>
          </a:p>
        </p:txBody>
      </p:sp>
      <p:sp>
        <p:nvSpPr>
          <p:cNvPr id="29" name="Marcador de texto 28">
            <a:extLst>
              <a:ext uri="{FF2B5EF4-FFF2-40B4-BE49-F238E27FC236}">
                <a16:creationId xmlns:a16="http://schemas.microsoft.com/office/drawing/2014/main" id="{0A129402-FA33-4A1A-8765-E440DD93D2F1}"/>
              </a:ext>
            </a:extLst>
          </p:cNvPr>
          <p:cNvSpPr>
            <a:spLocks noGrp="1"/>
          </p:cNvSpPr>
          <p:nvPr>
            <p:ph type="body" sz="quarter" idx="12" hasCustomPrompt="1"/>
          </p:nvPr>
        </p:nvSpPr>
        <p:spPr>
          <a:xfrm>
            <a:off x="9733988" y="2910964"/>
            <a:ext cx="1552575" cy="2093912"/>
          </a:xfrm>
        </p:spPr>
        <p:txBody>
          <a:bodyPr>
            <a:noAutofit/>
          </a:bodyPr>
          <a:lstStyle>
            <a:lvl1pPr marL="0" indent="0" algn="r">
              <a:buNone/>
              <a:defRPr sz="20000">
                <a:solidFill>
                  <a:schemeClr val="bg1"/>
                </a:solidFill>
                <a:latin typeface="+mj-lt"/>
              </a:defRPr>
            </a:lvl1pPr>
            <a:lvl2pPr marL="457200" indent="0">
              <a:buNone/>
              <a:defRPr sz="20000">
                <a:latin typeface="+mj-lt"/>
              </a:defRPr>
            </a:lvl2pPr>
            <a:lvl3pPr marL="914400" indent="0">
              <a:buNone/>
              <a:defRPr sz="20000">
                <a:latin typeface="+mj-lt"/>
              </a:defRPr>
            </a:lvl3pPr>
            <a:lvl4pPr marL="1371600" indent="0">
              <a:buNone/>
              <a:defRPr sz="20000">
                <a:latin typeface="+mj-lt"/>
              </a:defRPr>
            </a:lvl4pPr>
            <a:lvl5pPr marL="1828800" indent="0">
              <a:buNone/>
              <a:defRPr sz="20000">
                <a:latin typeface="+mj-lt"/>
              </a:defRPr>
            </a:lvl5pPr>
          </a:lstStyle>
          <a:p>
            <a:pPr lvl="0"/>
            <a:r>
              <a:rPr lang="es-ES"/>
              <a:t>#</a:t>
            </a:r>
          </a:p>
        </p:txBody>
      </p:sp>
    </p:spTree>
    <p:extLst>
      <p:ext uri="{BB962C8B-B14F-4D97-AF65-F5344CB8AC3E}">
        <p14:creationId xmlns:p14="http://schemas.microsoft.com/office/powerpoint/2010/main" val="15187923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Imagen 15">
            <a:extLst>
              <a:ext uri="{FF2B5EF4-FFF2-40B4-BE49-F238E27FC236}">
                <a16:creationId xmlns:a16="http://schemas.microsoft.com/office/drawing/2014/main" id="{C9A204AC-6B1B-4673-BE64-7510CAD1D157}"/>
              </a:ext>
            </a:extLst>
          </p:cNvPr>
          <p:cNvPicPr>
            <a:picLocks noChangeAspect="1"/>
          </p:cNvPicPr>
          <p:nvPr userDrawn="1"/>
        </p:nvPicPr>
        <p:blipFill>
          <a:blip r:embed="rId3"/>
          <a:stretch>
            <a:fillRect/>
          </a:stretch>
        </p:blipFill>
        <p:spPr>
          <a:xfrm>
            <a:off x="6843304" y="3957920"/>
            <a:ext cx="4724809" cy="2603218"/>
          </a:xfrm>
          <a:prstGeom prst="rect">
            <a:avLst/>
          </a:prstGeom>
        </p:spPr>
      </p:pic>
      <p:sp>
        <p:nvSpPr>
          <p:cNvPr id="25" name="Marcador de texto 24">
            <a:extLst>
              <a:ext uri="{FF2B5EF4-FFF2-40B4-BE49-F238E27FC236}">
                <a16:creationId xmlns:a16="http://schemas.microsoft.com/office/drawing/2014/main" id="{39B59A33-01C2-48FA-87F4-810F99E262AC}"/>
              </a:ext>
            </a:extLst>
          </p:cNvPr>
          <p:cNvSpPr>
            <a:spLocks noGrp="1"/>
          </p:cNvSpPr>
          <p:nvPr>
            <p:ph type="body" sz="quarter" idx="10"/>
          </p:nvPr>
        </p:nvSpPr>
        <p:spPr>
          <a:xfrm>
            <a:off x="7877175" y="5553075"/>
            <a:ext cx="3409950" cy="666750"/>
          </a:xfrm>
        </p:spPr>
        <p:txBody>
          <a:bodyPr>
            <a:noAutofit/>
          </a:bodyPr>
          <a:lstStyle>
            <a:lvl1pPr marL="0" indent="0" algn="r">
              <a:buNone/>
              <a:defRPr sz="1500">
                <a:solidFill>
                  <a:schemeClr val="bg1"/>
                </a:solidFill>
              </a:defRPr>
            </a:lvl1pPr>
            <a:lvl2pPr marL="457200" indent="0">
              <a:buNone/>
              <a:defRPr sz="1500">
                <a:solidFill>
                  <a:schemeClr val="bg1"/>
                </a:solidFill>
              </a:defRPr>
            </a:lvl2pPr>
            <a:lvl3pPr marL="914400" indent="0">
              <a:buNone/>
              <a:defRPr sz="1500">
                <a:solidFill>
                  <a:schemeClr val="bg1"/>
                </a:solidFill>
              </a:defRPr>
            </a:lvl3pPr>
            <a:lvl4pPr marL="1371600" indent="0">
              <a:buNone/>
              <a:defRPr sz="1500">
                <a:solidFill>
                  <a:schemeClr val="bg1"/>
                </a:solidFill>
              </a:defRPr>
            </a:lvl4pPr>
            <a:lvl5pPr marL="1828800" indent="0">
              <a:buNone/>
              <a:defRPr sz="1500">
                <a:solidFill>
                  <a:schemeClr val="bg1"/>
                </a:solidFill>
              </a:defRPr>
            </a:lvl5pPr>
          </a:lstStyle>
          <a:p>
            <a:pPr lvl="0"/>
            <a:r>
              <a:rPr lang="es-ES"/>
              <a:t>Haga clic para modificar los estilos de texto</a:t>
            </a:r>
            <a:endParaRPr lang="es-CL"/>
          </a:p>
        </p:txBody>
      </p:sp>
      <p:sp>
        <p:nvSpPr>
          <p:cNvPr id="27" name="Marcador de texto 26">
            <a:extLst>
              <a:ext uri="{FF2B5EF4-FFF2-40B4-BE49-F238E27FC236}">
                <a16:creationId xmlns:a16="http://schemas.microsoft.com/office/drawing/2014/main" id="{323DB53B-7321-4526-A07C-BC2A417C26AC}"/>
              </a:ext>
            </a:extLst>
          </p:cNvPr>
          <p:cNvSpPr>
            <a:spLocks noGrp="1"/>
          </p:cNvSpPr>
          <p:nvPr>
            <p:ph type="body" sz="quarter" idx="11" hasCustomPrompt="1"/>
          </p:nvPr>
        </p:nvSpPr>
        <p:spPr>
          <a:xfrm>
            <a:off x="7877175" y="5172075"/>
            <a:ext cx="3409950" cy="381000"/>
          </a:xfrm>
        </p:spPr>
        <p:txBody>
          <a:bodyPr>
            <a:noAutofit/>
          </a:bodyPr>
          <a:lstStyle>
            <a:lvl1pPr marL="0" indent="0" algn="r">
              <a:buNone/>
              <a:defRPr sz="2400" b="1">
                <a:solidFill>
                  <a:schemeClr val="bg1"/>
                </a:solidFill>
                <a:latin typeface="+mj-lt"/>
              </a:defRPr>
            </a:lvl1pPr>
            <a:lvl2pPr marL="457200" indent="0">
              <a:buNone/>
              <a:defRPr sz="2400" b="1">
                <a:solidFill>
                  <a:schemeClr val="bg1"/>
                </a:solidFill>
                <a:latin typeface="+mj-lt"/>
              </a:defRPr>
            </a:lvl2pPr>
            <a:lvl3pPr marL="914400" indent="0">
              <a:buNone/>
              <a:defRPr sz="2400" b="1">
                <a:solidFill>
                  <a:schemeClr val="bg1"/>
                </a:solidFill>
                <a:latin typeface="+mj-lt"/>
              </a:defRPr>
            </a:lvl3pPr>
            <a:lvl4pPr marL="1371600" indent="0">
              <a:buNone/>
              <a:defRPr sz="2400" b="1">
                <a:solidFill>
                  <a:schemeClr val="bg1"/>
                </a:solidFill>
                <a:latin typeface="+mj-lt"/>
              </a:defRPr>
            </a:lvl4pPr>
            <a:lvl5pPr marL="1828800" indent="0">
              <a:buNone/>
              <a:defRPr sz="2400" b="1">
                <a:solidFill>
                  <a:schemeClr val="bg1"/>
                </a:solidFill>
                <a:latin typeface="+mj-lt"/>
              </a:defRPr>
            </a:lvl5pPr>
          </a:lstStyle>
          <a:p>
            <a:pPr lvl="0"/>
            <a:r>
              <a:rPr lang="es-ES"/>
              <a:t>Título</a:t>
            </a:r>
            <a:endParaRPr lang="es-CL"/>
          </a:p>
        </p:txBody>
      </p:sp>
      <p:sp>
        <p:nvSpPr>
          <p:cNvPr id="29" name="Marcador de texto 28">
            <a:extLst>
              <a:ext uri="{FF2B5EF4-FFF2-40B4-BE49-F238E27FC236}">
                <a16:creationId xmlns:a16="http://schemas.microsoft.com/office/drawing/2014/main" id="{0A129402-FA33-4A1A-8765-E440DD93D2F1}"/>
              </a:ext>
            </a:extLst>
          </p:cNvPr>
          <p:cNvSpPr>
            <a:spLocks noGrp="1"/>
          </p:cNvSpPr>
          <p:nvPr>
            <p:ph type="body" sz="quarter" idx="12" hasCustomPrompt="1"/>
          </p:nvPr>
        </p:nvSpPr>
        <p:spPr>
          <a:xfrm>
            <a:off x="9733988" y="2910964"/>
            <a:ext cx="1552575" cy="2093912"/>
          </a:xfrm>
        </p:spPr>
        <p:txBody>
          <a:bodyPr>
            <a:noAutofit/>
          </a:bodyPr>
          <a:lstStyle>
            <a:lvl1pPr marL="0" indent="0" algn="r">
              <a:buNone/>
              <a:defRPr sz="20000">
                <a:solidFill>
                  <a:schemeClr val="bg1"/>
                </a:solidFill>
                <a:latin typeface="+mj-lt"/>
              </a:defRPr>
            </a:lvl1pPr>
            <a:lvl2pPr marL="457200" indent="0">
              <a:buNone/>
              <a:defRPr sz="20000">
                <a:latin typeface="+mj-lt"/>
              </a:defRPr>
            </a:lvl2pPr>
            <a:lvl3pPr marL="914400" indent="0">
              <a:buNone/>
              <a:defRPr sz="20000">
                <a:latin typeface="+mj-lt"/>
              </a:defRPr>
            </a:lvl3pPr>
            <a:lvl4pPr marL="1371600" indent="0">
              <a:buNone/>
              <a:defRPr sz="20000">
                <a:latin typeface="+mj-lt"/>
              </a:defRPr>
            </a:lvl4pPr>
            <a:lvl5pPr marL="1828800" indent="0">
              <a:buNone/>
              <a:defRPr sz="20000">
                <a:latin typeface="+mj-lt"/>
              </a:defRPr>
            </a:lvl5pPr>
          </a:lstStyle>
          <a:p>
            <a:pPr lvl="0"/>
            <a:r>
              <a:rPr lang="es-ES"/>
              <a:t>#</a:t>
            </a:r>
          </a:p>
        </p:txBody>
      </p:sp>
    </p:spTree>
    <p:extLst>
      <p:ext uri="{BB962C8B-B14F-4D97-AF65-F5344CB8AC3E}">
        <p14:creationId xmlns:p14="http://schemas.microsoft.com/office/powerpoint/2010/main" val="11432391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Imagen 15">
            <a:extLst>
              <a:ext uri="{FF2B5EF4-FFF2-40B4-BE49-F238E27FC236}">
                <a16:creationId xmlns:a16="http://schemas.microsoft.com/office/drawing/2014/main" id="{C9A204AC-6B1B-4673-BE64-7510CAD1D157}"/>
              </a:ext>
            </a:extLst>
          </p:cNvPr>
          <p:cNvPicPr>
            <a:picLocks noChangeAspect="1"/>
          </p:cNvPicPr>
          <p:nvPr userDrawn="1"/>
        </p:nvPicPr>
        <p:blipFill>
          <a:blip r:embed="rId3"/>
          <a:stretch>
            <a:fillRect/>
          </a:stretch>
        </p:blipFill>
        <p:spPr>
          <a:xfrm>
            <a:off x="6843304" y="3957920"/>
            <a:ext cx="4724809" cy="2603218"/>
          </a:xfrm>
          <a:prstGeom prst="rect">
            <a:avLst/>
          </a:prstGeom>
        </p:spPr>
      </p:pic>
      <p:sp>
        <p:nvSpPr>
          <p:cNvPr id="25" name="Marcador de texto 24">
            <a:extLst>
              <a:ext uri="{FF2B5EF4-FFF2-40B4-BE49-F238E27FC236}">
                <a16:creationId xmlns:a16="http://schemas.microsoft.com/office/drawing/2014/main" id="{39B59A33-01C2-48FA-87F4-810F99E262AC}"/>
              </a:ext>
            </a:extLst>
          </p:cNvPr>
          <p:cNvSpPr>
            <a:spLocks noGrp="1"/>
          </p:cNvSpPr>
          <p:nvPr>
            <p:ph type="body" sz="quarter" idx="10"/>
          </p:nvPr>
        </p:nvSpPr>
        <p:spPr>
          <a:xfrm>
            <a:off x="7877175" y="5553075"/>
            <a:ext cx="3409950" cy="666750"/>
          </a:xfrm>
        </p:spPr>
        <p:txBody>
          <a:bodyPr>
            <a:noAutofit/>
          </a:bodyPr>
          <a:lstStyle>
            <a:lvl1pPr marL="0" indent="0" algn="r">
              <a:buNone/>
              <a:defRPr sz="1500">
                <a:solidFill>
                  <a:schemeClr val="bg1"/>
                </a:solidFill>
              </a:defRPr>
            </a:lvl1pPr>
            <a:lvl2pPr marL="457200" indent="0">
              <a:buNone/>
              <a:defRPr sz="1500">
                <a:solidFill>
                  <a:schemeClr val="bg1"/>
                </a:solidFill>
              </a:defRPr>
            </a:lvl2pPr>
            <a:lvl3pPr marL="914400" indent="0">
              <a:buNone/>
              <a:defRPr sz="1500">
                <a:solidFill>
                  <a:schemeClr val="bg1"/>
                </a:solidFill>
              </a:defRPr>
            </a:lvl3pPr>
            <a:lvl4pPr marL="1371600" indent="0">
              <a:buNone/>
              <a:defRPr sz="1500">
                <a:solidFill>
                  <a:schemeClr val="bg1"/>
                </a:solidFill>
              </a:defRPr>
            </a:lvl4pPr>
            <a:lvl5pPr marL="1828800" indent="0">
              <a:buNone/>
              <a:defRPr sz="1500">
                <a:solidFill>
                  <a:schemeClr val="bg1"/>
                </a:solidFill>
              </a:defRPr>
            </a:lvl5pPr>
          </a:lstStyle>
          <a:p>
            <a:pPr lvl="0"/>
            <a:r>
              <a:rPr lang="es-ES"/>
              <a:t>Haga clic para modificar los estilos de texto</a:t>
            </a:r>
            <a:endParaRPr lang="es-CL"/>
          </a:p>
        </p:txBody>
      </p:sp>
      <p:sp>
        <p:nvSpPr>
          <p:cNvPr id="27" name="Marcador de texto 26">
            <a:extLst>
              <a:ext uri="{FF2B5EF4-FFF2-40B4-BE49-F238E27FC236}">
                <a16:creationId xmlns:a16="http://schemas.microsoft.com/office/drawing/2014/main" id="{323DB53B-7321-4526-A07C-BC2A417C26AC}"/>
              </a:ext>
            </a:extLst>
          </p:cNvPr>
          <p:cNvSpPr>
            <a:spLocks noGrp="1"/>
          </p:cNvSpPr>
          <p:nvPr>
            <p:ph type="body" sz="quarter" idx="11" hasCustomPrompt="1"/>
          </p:nvPr>
        </p:nvSpPr>
        <p:spPr>
          <a:xfrm>
            <a:off x="7877175" y="5172075"/>
            <a:ext cx="3409950" cy="381000"/>
          </a:xfrm>
        </p:spPr>
        <p:txBody>
          <a:bodyPr>
            <a:noAutofit/>
          </a:bodyPr>
          <a:lstStyle>
            <a:lvl1pPr marL="0" indent="0" algn="r">
              <a:buNone/>
              <a:defRPr sz="2400" b="1">
                <a:solidFill>
                  <a:schemeClr val="bg1"/>
                </a:solidFill>
                <a:latin typeface="+mj-lt"/>
              </a:defRPr>
            </a:lvl1pPr>
            <a:lvl2pPr marL="457200" indent="0">
              <a:buNone/>
              <a:defRPr sz="2400" b="1">
                <a:solidFill>
                  <a:schemeClr val="bg1"/>
                </a:solidFill>
                <a:latin typeface="+mj-lt"/>
              </a:defRPr>
            </a:lvl2pPr>
            <a:lvl3pPr marL="914400" indent="0">
              <a:buNone/>
              <a:defRPr sz="2400" b="1">
                <a:solidFill>
                  <a:schemeClr val="bg1"/>
                </a:solidFill>
                <a:latin typeface="+mj-lt"/>
              </a:defRPr>
            </a:lvl3pPr>
            <a:lvl4pPr marL="1371600" indent="0">
              <a:buNone/>
              <a:defRPr sz="2400" b="1">
                <a:solidFill>
                  <a:schemeClr val="bg1"/>
                </a:solidFill>
                <a:latin typeface="+mj-lt"/>
              </a:defRPr>
            </a:lvl4pPr>
            <a:lvl5pPr marL="1828800" indent="0">
              <a:buNone/>
              <a:defRPr sz="2400" b="1">
                <a:solidFill>
                  <a:schemeClr val="bg1"/>
                </a:solidFill>
                <a:latin typeface="+mj-lt"/>
              </a:defRPr>
            </a:lvl5pPr>
          </a:lstStyle>
          <a:p>
            <a:pPr lvl="0"/>
            <a:r>
              <a:rPr lang="es-ES"/>
              <a:t>Título</a:t>
            </a:r>
            <a:endParaRPr lang="es-CL"/>
          </a:p>
        </p:txBody>
      </p:sp>
      <p:sp>
        <p:nvSpPr>
          <p:cNvPr id="29" name="Marcador de texto 28">
            <a:extLst>
              <a:ext uri="{FF2B5EF4-FFF2-40B4-BE49-F238E27FC236}">
                <a16:creationId xmlns:a16="http://schemas.microsoft.com/office/drawing/2014/main" id="{0A129402-FA33-4A1A-8765-E440DD93D2F1}"/>
              </a:ext>
            </a:extLst>
          </p:cNvPr>
          <p:cNvSpPr>
            <a:spLocks noGrp="1"/>
          </p:cNvSpPr>
          <p:nvPr>
            <p:ph type="body" sz="quarter" idx="12" hasCustomPrompt="1"/>
          </p:nvPr>
        </p:nvSpPr>
        <p:spPr>
          <a:xfrm>
            <a:off x="9733988" y="2910964"/>
            <a:ext cx="1552575" cy="2093912"/>
          </a:xfrm>
        </p:spPr>
        <p:txBody>
          <a:bodyPr>
            <a:noAutofit/>
          </a:bodyPr>
          <a:lstStyle>
            <a:lvl1pPr marL="0" indent="0" algn="r">
              <a:buNone/>
              <a:defRPr sz="20000">
                <a:solidFill>
                  <a:schemeClr val="bg1"/>
                </a:solidFill>
                <a:latin typeface="+mj-lt"/>
              </a:defRPr>
            </a:lvl1pPr>
            <a:lvl2pPr marL="457200" indent="0">
              <a:buNone/>
              <a:defRPr sz="20000">
                <a:latin typeface="+mj-lt"/>
              </a:defRPr>
            </a:lvl2pPr>
            <a:lvl3pPr marL="914400" indent="0">
              <a:buNone/>
              <a:defRPr sz="20000">
                <a:latin typeface="+mj-lt"/>
              </a:defRPr>
            </a:lvl3pPr>
            <a:lvl4pPr marL="1371600" indent="0">
              <a:buNone/>
              <a:defRPr sz="20000">
                <a:latin typeface="+mj-lt"/>
              </a:defRPr>
            </a:lvl4pPr>
            <a:lvl5pPr marL="1828800" indent="0">
              <a:buNone/>
              <a:defRPr sz="20000">
                <a:latin typeface="+mj-lt"/>
              </a:defRPr>
            </a:lvl5pPr>
          </a:lstStyle>
          <a:p>
            <a:pPr lvl="0"/>
            <a:r>
              <a:rPr lang="es-ES"/>
              <a:t>#</a:t>
            </a:r>
          </a:p>
        </p:txBody>
      </p:sp>
    </p:spTree>
    <p:extLst>
      <p:ext uri="{BB962C8B-B14F-4D97-AF65-F5344CB8AC3E}">
        <p14:creationId xmlns:p14="http://schemas.microsoft.com/office/powerpoint/2010/main" val="809703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7_Diseño personalizado">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pic>
        <p:nvPicPr>
          <p:cNvPr id="16" name="Imagen 15">
            <a:extLst>
              <a:ext uri="{FF2B5EF4-FFF2-40B4-BE49-F238E27FC236}">
                <a16:creationId xmlns:a16="http://schemas.microsoft.com/office/drawing/2014/main" id="{C9A204AC-6B1B-4673-BE64-7510CAD1D157}"/>
              </a:ext>
            </a:extLst>
          </p:cNvPr>
          <p:cNvPicPr>
            <a:picLocks noChangeAspect="1"/>
          </p:cNvPicPr>
          <p:nvPr userDrawn="1"/>
        </p:nvPicPr>
        <p:blipFill>
          <a:blip r:embed="rId3"/>
          <a:stretch>
            <a:fillRect/>
          </a:stretch>
        </p:blipFill>
        <p:spPr>
          <a:xfrm>
            <a:off x="6843304" y="3957920"/>
            <a:ext cx="4724809" cy="2603218"/>
          </a:xfrm>
          <a:prstGeom prst="rect">
            <a:avLst/>
          </a:prstGeom>
        </p:spPr>
      </p:pic>
      <p:sp>
        <p:nvSpPr>
          <p:cNvPr id="25" name="Marcador de texto 24">
            <a:extLst>
              <a:ext uri="{FF2B5EF4-FFF2-40B4-BE49-F238E27FC236}">
                <a16:creationId xmlns:a16="http://schemas.microsoft.com/office/drawing/2014/main" id="{39B59A33-01C2-48FA-87F4-810F99E262AC}"/>
              </a:ext>
            </a:extLst>
          </p:cNvPr>
          <p:cNvSpPr>
            <a:spLocks noGrp="1"/>
          </p:cNvSpPr>
          <p:nvPr>
            <p:ph type="body" sz="quarter" idx="10"/>
          </p:nvPr>
        </p:nvSpPr>
        <p:spPr>
          <a:xfrm>
            <a:off x="7877175" y="5553075"/>
            <a:ext cx="3409950" cy="666750"/>
          </a:xfrm>
        </p:spPr>
        <p:txBody>
          <a:bodyPr>
            <a:noAutofit/>
          </a:bodyPr>
          <a:lstStyle>
            <a:lvl1pPr marL="0" indent="0" algn="r">
              <a:buNone/>
              <a:defRPr sz="1500">
                <a:solidFill>
                  <a:schemeClr val="bg1"/>
                </a:solidFill>
              </a:defRPr>
            </a:lvl1pPr>
            <a:lvl2pPr marL="457200" indent="0">
              <a:buNone/>
              <a:defRPr sz="1500">
                <a:solidFill>
                  <a:schemeClr val="bg1"/>
                </a:solidFill>
              </a:defRPr>
            </a:lvl2pPr>
            <a:lvl3pPr marL="914400" indent="0">
              <a:buNone/>
              <a:defRPr sz="1500">
                <a:solidFill>
                  <a:schemeClr val="bg1"/>
                </a:solidFill>
              </a:defRPr>
            </a:lvl3pPr>
            <a:lvl4pPr marL="1371600" indent="0">
              <a:buNone/>
              <a:defRPr sz="1500">
                <a:solidFill>
                  <a:schemeClr val="bg1"/>
                </a:solidFill>
              </a:defRPr>
            </a:lvl4pPr>
            <a:lvl5pPr marL="1828800" indent="0">
              <a:buNone/>
              <a:defRPr sz="1500">
                <a:solidFill>
                  <a:schemeClr val="bg1"/>
                </a:solidFill>
              </a:defRPr>
            </a:lvl5pPr>
          </a:lstStyle>
          <a:p>
            <a:pPr lvl="0"/>
            <a:r>
              <a:rPr lang="es-ES"/>
              <a:t>Haga clic para modificar los estilos de texto</a:t>
            </a:r>
            <a:endParaRPr lang="es-CL"/>
          </a:p>
        </p:txBody>
      </p:sp>
      <p:sp>
        <p:nvSpPr>
          <p:cNvPr id="27" name="Marcador de texto 26">
            <a:extLst>
              <a:ext uri="{FF2B5EF4-FFF2-40B4-BE49-F238E27FC236}">
                <a16:creationId xmlns:a16="http://schemas.microsoft.com/office/drawing/2014/main" id="{323DB53B-7321-4526-A07C-BC2A417C26AC}"/>
              </a:ext>
            </a:extLst>
          </p:cNvPr>
          <p:cNvSpPr>
            <a:spLocks noGrp="1"/>
          </p:cNvSpPr>
          <p:nvPr>
            <p:ph type="body" sz="quarter" idx="11" hasCustomPrompt="1"/>
          </p:nvPr>
        </p:nvSpPr>
        <p:spPr>
          <a:xfrm>
            <a:off x="7877175" y="5172075"/>
            <a:ext cx="3409950" cy="381000"/>
          </a:xfrm>
        </p:spPr>
        <p:txBody>
          <a:bodyPr>
            <a:noAutofit/>
          </a:bodyPr>
          <a:lstStyle>
            <a:lvl1pPr marL="0" indent="0" algn="r">
              <a:buNone/>
              <a:defRPr sz="2400" b="1">
                <a:solidFill>
                  <a:schemeClr val="bg1"/>
                </a:solidFill>
                <a:latin typeface="+mj-lt"/>
              </a:defRPr>
            </a:lvl1pPr>
            <a:lvl2pPr marL="457200" indent="0">
              <a:buNone/>
              <a:defRPr sz="2400" b="1">
                <a:solidFill>
                  <a:schemeClr val="bg1"/>
                </a:solidFill>
                <a:latin typeface="+mj-lt"/>
              </a:defRPr>
            </a:lvl2pPr>
            <a:lvl3pPr marL="914400" indent="0">
              <a:buNone/>
              <a:defRPr sz="2400" b="1">
                <a:solidFill>
                  <a:schemeClr val="bg1"/>
                </a:solidFill>
                <a:latin typeface="+mj-lt"/>
              </a:defRPr>
            </a:lvl3pPr>
            <a:lvl4pPr marL="1371600" indent="0">
              <a:buNone/>
              <a:defRPr sz="2400" b="1">
                <a:solidFill>
                  <a:schemeClr val="bg1"/>
                </a:solidFill>
                <a:latin typeface="+mj-lt"/>
              </a:defRPr>
            </a:lvl4pPr>
            <a:lvl5pPr marL="1828800" indent="0">
              <a:buNone/>
              <a:defRPr sz="2400" b="1">
                <a:solidFill>
                  <a:schemeClr val="bg1"/>
                </a:solidFill>
                <a:latin typeface="+mj-lt"/>
              </a:defRPr>
            </a:lvl5pPr>
          </a:lstStyle>
          <a:p>
            <a:pPr lvl="0"/>
            <a:r>
              <a:rPr lang="es-ES"/>
              <a:t>Título</a:t>
            </a:r>
            <a:endParaRPr lang="es-CL"/>
          </a:p>
        </p:txBody>
      </p:sp>
      <p:sp>
        <p:nvSpPr>
          <p:cNvPr id="29" name="Marcador de texto 28">
            <a:extLst>
              <a:ext uri="{FF2B5EF4-FFF2-40B4-BE49-F238E27FC236}">
                <a16:creationId xmlns:a16="http://schemas.microsoft.com/office/drawing/2014/main" id="{0A129402-FA33-4A1A-8765-E440DD93D2F1}"/>
              </a:ext>
            </a:extLst>
          </p:cNvPr>
          <p:cNvSpPr>
            <a:spLocks noGrp="1"/>
          </p:cNvSpPr>
          <p:nvPr>
            <p:ph type="body" sz="quarter" idx="12" hasCustomPrompt="1"/>
          </p:nvPr>
        </p:nvSpPr>
        <p:spPr>
          <a:xfrm>
            <a:off x="9733988" y="2910964"/>
            <a:ext cx="1552575" cy="2093912"/>
          </a:xfrm>
        </p:spPr>
        <p:txBody>
          <a:bodyPr>
            <a:noAutofit/>
          </a:bodyPr>
          <a:lstStyle>
            <a:lvl1pPr marL="0" indent="0" algn="r">
              <a:buNone/>
              <a:defRPr sz="20000">
                <a:solidFill>
                  <a:schemeClr val="bg1"/>
                </a:solidFill>
                <a:latin typeface="+mj-lt"/>
              </a:defRPr>
            </a:lvl1pPr>
            <a:lvl2pPr marL="457200" indent="0">
              <a:buNone/>
              <a:defRPr sz="20000">
                <a:latin typeface="+mj-lt"/>
              </a:defRPr>
            </a:lvl2pPr>
            <a:lvl3pPr marL="914400" indent="0">
              <a:buNone/>
              <a:defRPr sz="20000">
                <a:latin typeface="+mj-lt"/>
              </a:defRPr>
            </a:lvl3pPr>
            <a:lvl4pPr marL="1371600" indent="0">
              <a:buNone/>
              <a:defRPr sz="20000">
                <a:latin typeface="+mj-lt"/>
              </a:defRPr>
            </a:lvl4pPr>
            <a:lvl5pPr marL="1828800" indent="0">
              <a:buNone/>
              <a:defRPr sz="20000">
                <a:latin typeface="+mj-lt"/>
              </a:defRPr>
            </a:lvl5pPr>
          </a:lstStyle>
          <a:p>
            <a:pPr lvl="0"/>
            <a:r>
              <a:rPr lang="es-ES"/>
              <a:t>#</a:t>
            </a:r>
          </a:p>
        </p:txBody>
      </p:sp>
    </p:spTree>
    <p:extLst>
      <p:ext uri="{BB962C8B-B14F-4D97-AF65-F5344CB8AC3E}">
        <p14:creationId xmlns:p14="http://schemas.microsoft.com/office/powerpoint/2010/main" val="25823485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Imagen 15">
            <a:extLst>
              <a:ext uri="{FF2B5EF4-FFF2-40B4-BE49-F238E27FC236}">
                <a16:creationId xmlns:a16="http://schemas.microsoft.com/office/drawing/2014/main" id="{C9A204AC-6B1B-4673-BE64-7510CAD1D157}"/>
              </a:ext>
            </a:extLst>
          </p:cNvPr>
          <p:cNvPicPr>
            <a:picLocks noChangeAspect="1"/>
          </p:cNvPicPr>
          <p:nvPr userDrawn="1"/>
        </p:nvPicPr>
        <p:blipFill>
          <a:blip r:embed="rId3"/>
          <a:stretch>
            <a:fillRect/>
          </a:stretch>
        </p:blipFill>
        <p:spPr>
          <a:xfrm>
            <a:off x="6843304" y="3957920"/>
            <a:ext cx="4724809" cy="2603218"/>
          </a:xfrm>
          <a:prstGeom prst="rect">
            <a:avLst/>
          </a:prstGeom>
        </p:spPr>
      </p:pic>
      <p:sp>
        <p:nvSpPr>
          <p:cNvPr id="25" name="Marcador de texto 24">
            <a:extLst>
              <a:ext uri="{FF2B5EF4-FFF2-40B4-BE49-F238E27FC236}">
                <a16:creationId xmlns:a16="http://schemas.microsoft.com/office/drawing/2014/main" id="{39B59A33-01C2-48FA-87F4-810F99E262AC}"/>
              </a:ext>
            </a:extLst>
          </p:cNvPr>
          <p:cNvSpPr>
            <a:spLocks noGrp="1"/>
          </p:cNvSpPr>
          <p:nvPr>
            <p:ph type="body" sz="quarter" idx="10"/>
          </p:nvPr>
        </p:nvSpPr>
        <p:spPr>
          <a:xfrm>
            <a:off x="7877175" y="5553075"/>
            <a:ext cx="3409950" cy="666750"/>
          </a:xfrm>
        </p:spPr>
        <p:txBody>
          <a:bodyPr>
            <a:noAutofit/>
          </a:bodyPr>
          <a:lstStyle>
            <a:lvl1pPr marL="0" indent="0" algn="r">
              <a:buNone/>
              <a:defRPr sz="1500">
                <a:solidFill>
                  <a:schemeClr val="bg1"/>
                </a:solidFill>
              </a:defRPr>
            </a:lvl1pPr>
            <a:lvl2pPr marL="457200" indent="0">
              <a:buNone/>
              <a:defRPr sz="1500">
                <a:solidFill>
                  <a:schemeClr val="bg1"/>
                </a:solidFill>
              </a:defRPr>
            </a:lvl2pPr>
            <a:lvl3pPr marL="914400" indent="0">
              <a:buNone/>
              <a:defRPr sz="1500">
                <a:solidFill>
                  <a:schemeClr val="bg1"/>
                </a:solidFill>
              </a:defRPr>
            </a:lvl3pPr>
            <a:lvl4pPr marL="1371600" indent="0">
              <a:buNone/>
              <a:defRPr sz="1500">
                <a:solidFill>
                  <a:schemeClr val="bg1"/>
                </a:solidFill>
              </a:defRPr>
            </a:lvl4pPr>
            <a:lvl5pPr marL="1828800" indent="0">
              <a:buNone/>
              <a:defRPr sz="1500">
                <a:solidFill>
                  <a:schemeClr val="bg1"/>
                </a:solidFill>
              </a:defRPr>
            </a:lvl5pPr>
          </a:lstStyle>
          <a:p>
            <a:pPr lvl="0"/>
            <a:r>
              <a:rPr lang="es-ES"/>
              <a:t>Haga clic para modificar los estilos de texto</a:t>
            </a:r>
            <a:endParaRPr lang="es-CL"/>
          </a:p>
        </p:txBody>
      </p:sp>
      <p:sp>
        <p:nvSpPr>
          <p:cNvPr id="27" name="Marcador de texto 26">
            <a:extLst>
              <a:ext uri="{FF2B5EF4-FFF2-40B4-BE49-F238E27FC236}">
                <a16:creationId xmlns:a16="http://schemas.microsoft.com/office/drawing/2014/main" id="{323DB53B-7321-4526-A07C-BC2A417C26AC}"/>
              </a:ext>
            </a:extLst>
          </p:cNvPr>
          <p:cNvSpPr>
            <a:spLocks noGrp="1"/>
          </p:cNvSpPr>
          <p:nvPr>
            <p:ph type="body" sz="quarter" idx="11" hasCustomPrompt="1"/>
          </p:nvPr>
        </p:nvSpPr>
        <p:spPr>
          <a:xfrm>
            <a:off x="7877175" y="5172075"/>
            <a:ext cx="3409950" cy="381000"/>
          </a:xfrm>
        </p:spPr>
        <p:txBody>
          <a:bodyPr>
            <a:noAutofit/>
          </a:bodyPr>
          <a:lstStyle>
            <a:lvl1pPr marL="0" indent="0" algn="r">
              <a:buNone/>
              <a:defRPr sz="2400" b="1">
                <a:solidFill>
                  <a:schemeClr val="bg1"/>
                </a:solidFill>
                <a:latin typeface="+mj-lt"/>
              </a:defRPr>
            </a:lvl1pPr>
            <a:lvl2pPr marL="457200" indent="0">
              <a:buNone/>
              <a:defRPr sz="2400" b="1">
                <a:solidFill>
                  <a:schemeClr val="bg1"/>
                </a:solidFill>
                <a:latin typeface="+mj-lt"/>
              </a:defRPr>
            </a:lvl2pPr>
            <a:lvl3pPr marL="914400" indent="0">
              <a:buNone/>
              <a:defRPr sz="2400" b="1">
                <a:solidFill>
                  <a:schemeClr val="bg1"/>
                </a:solidFill>
                <a:latin typeface="+mj-lt"/>
              </a:defRPr>
            </a:lvl3pPr>
            <a:lvl4pPr marL="1371600" indent="0">
              <a:buNone/>
              <a:defRPr sz="2400" b="1">
                <a:solidFill>
                  <a:schemeClr val="bg1"/>
                </a:solidFill>
                <a:latin typeface="+mj-lt"/>
              </a:defRPr>
            </a:lvl4pPr>
            <a:lvl5pPr marL="1828800" indent="0">
              <a:buNone/>
              <a:defRPr sz="2400" b="1">
                <a:solidFill>
                  <a:schemeClr val="bg1"/>
                </a:solidFill>
                <a:latin typeface="+mj-lt"/>
              </a:defRPr>
            </a:lvl5pPr>
          </a:lstStyle>
          <a:p>
            <a:pPr lvl="0"/>
            <a:r>
              <a:rPr lang="es-ES"/>
              <a:t>Título</a:t>
            </a:r>
            <a:endParaRPr lang="es-CL"/>
          </a:p>
        </p:txBody>
      </p:sp>
      <p:sp>
        <p:nvSpPr>
          <p:cNvPr id="29" name="Marcador de texto 28">
            <a:extLst>
              <a:ext uri="{FF2B5EF4-FFF2-40B4-BE49-F238E27FC236}">
                <a16:creationId xmlns:a16="http://schemas.microsoft.com/office/drawing/2014/main" id="{0A129402-FA33-4A1A-8765-E440DD93D2F1}"/>
              </a:ext>
            </a:extLst>
          </p:cNvPr>
          <p:cNvSpPr>
            <a:spLocks noGrp="1"/>
          </p:cNvSpPr>
          <p:nvPr>
            <p:ph type="body" sz="quarter" idx="12" hasCustomPrompt="1"/>
          </p:nvPr>
        </p:nvSpPr>
        <p:spPr>
          <a:xfrm>
            <a:off x="9733988" y="2910964"/>
            <a:ext cx="1552575" cy="2093912"/>
          </a:xfrm>
        </p:spPr>
        <p:txBody>
          <a:bodyPr>
            <a:noAutofit/>
          </a:bodyPr>
          <a:lstStyle>
            <a:lvl1pPr marL="0" indent="0" algn="r">
              <a:buNone/>
              <a:defRPr sz="20000">
                <a:solidFill>
                  <a:schemeClr val="bg1"/>
                </a:solidFill>
                <a:latin typeface="+mj-lt"/>
              </a:defRPr>
            </a:lvl1pPr>
            <a:lvl2pPr marL="457200" indent="0">
              <a:buNone/>
              <a:defRPr sz="20000">
                <a:latin typeface="+mj-lt"/>
              </a:defRPr>
            </a:lvl2pPr>
            <a:lvl3pPr marL="914400" indent="0">
              <a:buNone/>
              <a:defRPr sz="20000">
                <a:latin typeface="+mj-lt"/>
              </a:defRPr>
            </a:lvl3pPr>
            <a:lvl4pPr marL="1371600" indent="0">
              <a:buNone/>
              <a:defRPr sz="20000">
                <a:latin typeface="+mj-lt"/>
              </a:defRPr>
            </a:lvl4pPr>
            <a:lvl5pPr marL="1828800" indent="0">
              <a:buNone/>
              <a:defRPr sz="20000">
                <a:latin typeface="+mj-lt"/>
              </a:defRPr>
            </a:lvl5pPr>
          </a:lstStyle>
          <a:p>
            <a:pPr lvl="0"/>
            <a:r>
              <a:rPr lang="es-ES"/>
              <a:t>#</a:t>
            </a:r>
          </a:p>
        </p:txBody>
      </p:sp>
    </p:spTree>
    <p:extLst>
      <p:ext uri="{BB962C8B-B14F-4D97-AF65-F5344CB8AC3E}">
        <p14:creationId xmlns:p14="http://schemas.microsoft.com/office/powerpoint/2010/main" val="15878648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4_Diseño personalizad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9 Rectángulo">
            <a:extLst>
              <a:ext uri="{FF2B5EF4-FFF2-40B4-BE49-F238E27FC236}">
                <a16:creationId xmlns:a16="http://schemas.microsoft.com/office/drawing/2014/main" id="{9A0EDD26-80D7-4D43-989E-EAD12D461109}"/>
              </a:ext>
            </a:extLst>
          </p:cNvPr>
          <p:cNvSpPr/>
          <p:nvPr userDrawn="1"/>
        </p:nvSpPr>
        <p:spPr>
          <a:xfrm>
            <a:off x="1982224" y="3433378"/>
            <a:ext cx="8136904" cy="3528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09585" fontAlgn="base">
              <a:spcBef>
                <a:spcPct val="0"/>
              </a:spcBef>
              <a:spcAft>
                <a:spcPct val="0"/>
              </a:spcAft>
              <a:defRPr/>
            </a:pPr>
            <a:r>
              <a:rPr lang="es-CL" sz="2800">
                <a:solidFill>
                  <a:prstClr val="black"/>
                </a:solidFill>
                <a:latin typeface="Bebas Neue Book" panose="00000500000000000000" pitchFamily="2" charset="0"/>
                <a:cs typeface="Arial" panose="020B0604020202020204" pitchFamily="34" charset="0"/>
              </a:rPr>
              <a:t> </a:t>
            </a:r>
          </a:p>
          <a:p>
            <a:pPr defTabSz="609585" fontAlgn="base">
              <a:spcBef>
                <a:spcPct val="0"/>
              </a:spcBef>
              <a:spcAft>
                <a:spcPct val="0"/>
              </a:spcAft>
              <a:defRPr/>
            </a:pPr>
            <a:endParaRPr lang="es-CL" sz="2800">
              <a:solidFill>
                <a:prstClr val="black"/>
              </a:solidFill>
              <a:latin typeface="Bebas Neue Book" panose="00000500000000000000" pitchFamily="2" charset="0"/>
              <a:cs typeface="Arial" panose="020B0604020202020204" pitchFamily="34" charset="0"/>
            </a:endParaRPr>
          </a:p>
        </p:txBody>
      </p:sp>
      <p:sp>
        <p:nvSpPr>
          <p:cNvPr id="7" name="Rectángulo 6">
            <a:extLst>
              <a:ext uri="{FF2B5EF4-FFF2-40B4-BE49-F238E27FC236}">
                <a16:creationId xmlns:a16="http://schemas.microsoft.com/office/drawing/2014/main" id="{41165974-6E5E-422E-928B-D8597B511C63}"/>
              </a:ext>
            </a:extLst>
          </p:cNvPr>
          <p:cNvSpPr/>
          <p:nvPr userDrawn="1"/>
        </p:nvSpPr>
        <p:spPr>
          <a:xfrm>
            <a:off x="1762653" y="3289362"/>
            <a:ext cx="8644507" cy="1938992"/>
          </a:xfrm>
          <a:prstGeom prst="rect">
            <a:avLst/>
          </a:prstGeom>
        </p:spPr>
        <p:txBody>
          <a:bodyPr wrap="square">
            <a:spAutoFit/>
          </a:bodyPr>
          <a:lstStyle/>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a:p>
            <a:pPr algn="just" defTabSz="609585" fontAlgn="base">
              <a:spcBef>
                <a:spcPct val="0"/>
              </a:spcBef>
              <a:defRPr/>
            </a:pPr>
            <a:endParaRPr lang="es-CL" sz="2000">
              <a:solidFill>
                <a:prstClr val="black"/>
              </a:solidFill>
              <a:latin typeface="Calibri"/>
              <a:ea typeface="ヒラギノ角ゴ Pro W3" charset="-128"/>
            </a:endParaRPr>
          </a:p>
        </p:txBody>
      </p:sp>
      <p:sp>
        <p:nvSpPr>
          <p:cNvPr id="3" name="Marcador de texto 2">
            <a:extLst>
              <a:ext uri="{FF2B5EF4-FFF2-40B4-BE49-F238E27FC236}">
                <a16:creationId xmlns:a16="http://schemas.microsoft.com/office/drawing/2014/main" id="{E1DC6DA5-BE72-4291-89B7-90C89B37E603}"/>
              </a:ext>
            </a:extLst>
          </p:cNvPr>
          <p:cNvSpPr>
            <a:spLocks noGrp="1"/>
          </p:cNvSpPr>
          <p:nvPr>
            <p:ph type="body" sz="quarter" idx="10"/>
          </p:nvPr>
        </p:nvSpPr>
        <p:spPr>
          <a:xfrm>
            <a:off x="6096000" y="3433763"/>
            <a:ext cx="5472113" cy="3127375"/>
          </a:xfrm>
        </p:spPr>
        <p:txBody>
          <a:bodyPr anchor="b"/>
          <a:lstStyle>
            <a:lvl1pPr marL="0" indent="0" algn="r">
              <a:buNone/>
              <a:defRPr>
                <a:solidFill>
                  <a:schemeClr val="bg1"/>
                </a:solidFill>
              </a:defRPr>
            </a:lvl1pPr>
            <a:lvl2pPr marL="457200" indent="0" algn="r">
              <a:buNone/>
              <a:defRPr>
                <a:solidFill>
                  <a:schemeClr val="bg1"/>
                </a:solidFill>
              </a:defRPr>
            </a:lvl2pPr>
            <a:lvl3pPr marL="914400" indent="0" algn="r">
              <a:buNone/>
              <a:defRPr>
                <a:solidFill>
                  <a:schemeClr val="bg1"/>
                </a:solidFill>
              </a:defRPr>
            </a:lvl3pPr>
            <a:lvl4pPr marL="1371600" indent="0" algn="r">
              <a:buNone/>
              <a:defRPr>
                <a:solidFill>
                  <a:schemeClr val="bg1"/>
                </a:solidFill>
              </a:defRPr>
            </a:lvl4pPr>
            <a:lvl5pPr marL="1828800" indent="0" algn="r">
              <a:buNone/>
              <a:defRPr>
                <a:solidFill>
                  <a:schemeClr val="bg1"/>
                </a:solidFill>
              </a:defRPr>
            </a:lvl5pPr>
          </a:lstStyle>
          <a:p>
            <a:pPr lvl="0"/>
            <a:r>
              <a:rPr lang="es-ES"/>
              <a:t>Haga clic para modificar los estilos de texto del patrón</a:t>
            </a:r>
          </a:p>
        </p:txBody>
      </p:sp>
      <p:sp>
        <p:nvSpPr>
          <p:cNvPr id="5" name="Marcador de texto 4">
            <a:extLst>
              <a:ext uri="{FF2B5EF4-FFF2-40B4-BE49-F238E27FC236}">
                <a16:creationId xmlns:a16="http://schemas.microsoft.com/office/drawing/2014/main" id="{A7C0CB43-DF0B-4B04-876B-A0982FFF5BED}"/>
              </a:ext>
            </a:extLst>
          </p:cNvPr>
          <p:cNvSpPr>
            <a:spLocks noGrp="1"/>
          </p:cNvSpPr>
          <p:nvPr>
            <p:ph type="body" sz="quarter" idx="11" hasCustomPrompt="1"/>
          </p:nvPr>
        </p:nvSpPr>
        <p:spPr>
          <a:xfrm>
            <a:off x="623888" y="90536"/>
            <a:ext cx="9495240" cy="961978"/>
          </a:xfrm>
        </p:spPr>
        <p:txBody>
          <a:bodyPr anchor="b">
            <a:noAutofit/>
          </a:bodyPr>
          <a:lstStyle>
            <a:lvl1pPr marL="0" indent="0">
              <a:buNone/>
              <a:defRPr sz="3200" b="1">
                <a:latin typeface="+mj-lt"/>
              </a:defRPr>
            </a:lvl1pPr>
            <a:lvl2pPr marL="457200" indent="0">
              <a:buNone/>
              <a:defRPr sz="3200">
                <a:latin typeface="+mj-lt"/>
              </a:defRPr>
            </a:lvl2pPr>
            <a:lvl3pPr marL="914400" indent="0">
              <a:buNone/>
              <a:defRPr sz="3200">
                <a:latin typeface="+mj-lt"/>
              </a:defRPr>
            </a:lvl3pPr>
            <a:lvl4pPr marL="1371600" indent="0">
              <a:buNone/>
              <a:defRPr sz="3200">
                <a:latin typeface="+mj-lt"/>
              </a:defRPr>
            </a:lvl4pPr>
            <a:lvl5pPr marL="1828800" indent="0">
              <a:buNone/>
              <a:defRPr sz="3200">
                <a:latin typeface="+mj-lt"/>
              </a:defRPr>
            </a:lvl5pPr>
          </a:lstStyle>
          <a:p>
            <a:pPr lvl="0"/>
            <a:r>
              <a:rPr lang="es-ES"/>
              <a:t>Título de la diapositiva</a:t>
            </a:r>
            <a:endParaRPr lang="es-CL"/>
          </a:p>
        </p:txBody>
      </p:sp>
    </p:spTree>
    <p:extLst>
      <p:ext uri="{BB962C8B-B14F-4D97-AF65-F5344CB8AC3E}">
        <p14:creationId xmlns:p14="http://schemas.microsoft.com/office/powerpoint/2010/main" val="35621866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Imagen 11">
            <a:extLst>
              <a:ext uri="{FF2B5EF4-FFF2-40B4-BE49-F238E27FC236}">
                <a16:creationId xmlns:a16="http://schemas.microsoft.com/office/drawing/2014/main" id="{B3E18F6F-9710-442D-B2CB-BCBB04608576}"/>
              </a:ext>
            </a:extLst>
          </p:cNvPr>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8894618" y="0"/>
            <a:ext cx="2980341" cy="162140"/>
          </a:xfrm>
          <a:prstGeom prst="rect">
            <a:avLst/>
          </a:prstGeom>
        </p:spPr>
      </p:pic>
      <p:sp>
        <p:nvSpPr>
          <p:cNvPr id="2" name="Marcador de título 1">
            <a:extLst>
              <a:ext uri="{FF2B5EF4-FFF2-40B4-BE49-F238E27FC236}">
                <a16:creationId xmlns:a16="http://schemas.microsoft.com/office/drawing/2014/main" id="{7E29378C-EEC1-47FA-9AC1-697B12046D26}"/>
              </a:ext>
            </a:extLst>
          </p:cNvPr>
          <p:cNvSpPr>
            <a:spLocks noGrp="1"/>
          </p:cNvSpPr>
          <p:nvPr>
            <p:ph type="title"/>
          </p:nvPr>
        </p:nvSpPr>
        <p:spPr>
          <a:xfrm>
            <a:off x="623888" y="168563"/>
            <a:ext cx="9477644" cy="883951"/>
          </a:xfrm>
          <a:prstGeom prst="rect">
            <a:avLst/>
          </a:prstGeom>
        </p:spPr>
        <p:txBody>
          <a:bodyPr vert="horz" lIns="91440" tIns="45720" rIns="91440" bIns="45720" rtlCol="0" anchor="b">
            <a:normAutofit/>
          </a:bodyPr>
          <a:lstStyle/>
          <a:p>
            <a:r>
              <a:rPr lang="es-ES"/>
              <a:t>Título de la diapositiva</a:t>
            </a:r>
            <a:endParaRPr lang="es-CL"/>
          </a:p>
        </p:txBody>
      </p:sp>
      <p:sp>
        <p:nvSpPr>
          <p:cNvPr id="3" name="Marcador de texto 2">
            <a:extLst>
              <a:ext uri="{FF2B5EF4-FFF2-40B4-BE49-F238E27FC236}">
                <a16:creationId xmlns:a16="http://schemas.microsoft.com/office/drawing/2014/main" id="{FD3132AD-A46B-4784-AA69-ED5F00192975}"/>
              </a:ext>
            </a:extLst>
          </p:cNvPr>
          <p:cNvSpPr>
            <a:spLocks noGrp="1"/>
          </p:cNvSpPr>
          <p:nvPr>
            <p:ph type="body" idx="1"/>
          </p:nvPr>
        </p:nvSpPr>
        <p:spPr>
          <a:xfrm>
            <a:off x="623887" y="1825625"/>
            <a:ext cx="10944225"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8" name="Rectángulo 7">
            <a:extLst>
              <a:ext uri="{FF2B5EF4-FFF2-40B4-BE49-F238E27FC236}">
                <a16:creationId xmlns:a16="http://schemas.microsoft.com/office/drawing/2014/main" id="{80AE663C-0D71-4A8D-B6E9-9C0C2F74413D}"/>
              </a:ext>
            </a:extLst>
          </p:cNvPr>
          <p:cNvSpPr/>
          <p:nvPr userDrawn="1"/>
        </p:nvSpPr>
        <p:spPr>
          <a:xfrm>
            <a:off x="0" y="6561137"/>
            <a:ext cx="12192000" cy="3034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2489">
              <a:solidFill>
                <a:schemeClr val="bg1"/>
              </a:solidFill>
            </a:endParaRPr>
          </a:p>
        </p:txBody>
      </p:sp>
      <p:sp>
        <p:nvSpPr>
          <p:cNvPr id="4" name="Marcador de fecha 3">
            <a:extLst>
              <a:ext uri="{FF2B5EF4-FFF2-40B4-BE49-F238E27FC236}">
                <a16:creationId xmlns:a16="http://schemas.microsoft.com/office/drawing/2014/main" id="{C46234BB-2E3E-450F-AF29-C94CC9ED6C3D}"/>
              </a:ext>
            </a:extLst>
          </p:cNvPr>
          <p:cNvSpPr>
            <a:spLocks noGrp="1"/>
          </p:cNvSpPr>
          <p:nvPr>
            <p:ph type="dt" sz="half" idx="2"/>
          </p:nvPr>
        </p:nvSpPr>
        <p:spPr>
          <a:xfrm>
            <a:off x="0" y="6561138"/>
            <a:ext cx="2743200" cy="296862"/>
          </a:xfrm>
          <a:prstGeom prst="rect">
            <a:avLst/>
          </a:prstGeom>
        </p:spPr>
        <p:txBody>
          <a:bodyPr vert="horz" lIns="91440" tIns="45720" rIns="91440" bIns="45720" rtlCol="0" anchor="ctr"/>
          <a:lstStyle>
            <a:lvl1pPr algn="l">
              <a:defRPr sz="1200">
                <a:solidFill>
                  <a:schemeClr val="bg1"/>
                </a:solidFill>
              </a:defRPr>
            </a:lvl1pPr>
          </a:lstStyle>
          <a:p>
            <a:fld id="{B899C2F7-5683-4855-B6AE-8F925598B277}" type="datetime1">
              <a:rPr lang="es-CL" smtClean="0"/>
              <a:t>04-11-2024</a:t>
            </a:fld>
            <a:endParaRPr lang="es-CL"/>
          </a:p>
        </p:txBody>
      </p:sp>
      <p:sp>
        <p:nvSpPr>
          <p:cNvPr id="5" name="Marcador de pie de página 4">
            <a:extLst>
              <a:ext uri="{FF2B5EF4-FFF2-40B4-BE49-F238E27FC236}">
                <a16:creationId xmlns:a16="http://schemas.microsoft.com/office/drawing/2014/main" id="{7D333497-A1EE-44A8-95FF-6F458B6359F7}"/>
              </a:ext>
            </a:extLst>
          </p:cNvPr>
          <p:cNvSpPr>
            <a:spLocks noGrp="1"/>
          </p:cNvSpPr>
          <p:nvPr>
            <p:ph type="ftr" sz="quarter" idx="3"/>
          </p:nvPr>
        </p:nvSpPr>
        <p:spPr>
          <a:xfrm>
            <a:off x="6450804" y="6561138"/>
            <a:ext cx="4887628" cy="303426"/>
          </a:xfrm>
          <a:prstGeom prst="rect">
            <a:avLst/>
          </a:prstGeom>
        </p:spPr>
        <p:txBody>
          <a:bodyPr vert="horz" lIns="91440" tIns="45720" rIns="91440" bIns="45720" rtlCol="0" anchor="ctr"/>
          <a:lstStyle>
            <a:lvl1pPr algn="r">
              <a:defRPr sz="1050">
                <a:solidFill>
                  <a:schemeClr val="bg1"/>
                </a:solidFill>
                <a:latin typeface="+mj-lt"/>
              </a:defRPr>
            </a:lvl1pPr>
          </a:lstStyle>
          <a:p>
            <a:r>
              <a:rPr lang="es-CL"/>
              <a:t>Transporte sostenible - División de Energías Sostenibles</a:t>
            </a:r>
          </a:p>
        </p:txBody>
      </p:sp>
      <p:sp>
        <p:nvSpPr>
          <p:cNvPr id="6" name="Marcador de número de diapositiva 5">
            <a:extLst>
              <a:ext uri="{FF2B5EF4-FFF2-40B4-BE49-F238E27FC236}">
                <a16:creationId xmlns:a16="http://schemas.microsoft.com/office/drawing/2014/main" id="{A1EEACD0-E179-4610-A7C5-DB429BA724F5}"/>
              </a:ext>
            </a:extLst>
          </p:cNvPr>
          <p:cNvSpPr>
            <a:spLocks noGrp="1"/>
          </p:cNvSpPr>
          <p:nvPr>
            <p:ph type="sldNum" sz="quarter" idx="4"/>
          </p:nvPr>
        </p:nvSpPr>
        <p:spPr>
          <a:xfrm>
            <a:off x="11134725" y="6554574"/>
            <a:ext cx="722313" cy="303426"/>
          </a:xfrm>
          <a:prstGeom prst="rect">
            <a:avLst/>
          </a:prstGeom>
        </p:spPr>
        <p:txBody>
          <a:bodyPr vert="horz" lIns="91440" tIns="45720" rIns="91440" bIns="45720" rtlCol="0" anchor="ctr"/>
          <a:lstStyle>
            <a:lvl1pPr algn="r">
              <a:defRPr sz="1050">
                <a:solidFill>
                  <a:schemeClr val="bg1"/>
                </a:solidFill>
                <a:latin typeface="+mj-lt"/>
              </a:defRPr>
            </a:lvl1pPr>
          </a:lstStyle>
          <a:p>
            <a:r>
              <a:rPr lang="es-CL"/>
              <a:t>|   </a:t>
            </a:r>
            <a:fld id="{785CD681-51D3-414E-83F2-54688883A8C2}" type="slidenum">
              <a:rPr lang="es-CL" smtClean="0"/>
              <a:pPr/>
              <a:t>‹Nº›</a:t>
            </a:fld>
            <a:endParaRPr lang="es-CL"/>
          </a:p>
        </p:txBody>
      </p:sp>
    </p:spTree>
    <p:extLst>
      <p:ext uri="{BB962C8B-B14F-4D97-AF65-F5344CB8AC3E}">
        <p14:creationId xmlns:p14="http://schemas.microsoft.com/office/powerpoint/2010/main" val="852140986"/>
      </p:ext>
    </p:extLst>
  </p:cSld>
  <p:clrMap bg1="lt1" tx1="dk1" bg2="lt2" tx2="dk2" accent1="accent1" accent2="accent2" accent3="accent3" accent4="accent4" accent5="accent5" accent6="accent6" hlink="hlink" folHlink="folHlink"/>
  <p:sldLayoutIdLst>
    <p:sldLayoutId id="2147483763" r:id="rId1"/>
    <p:sldLayoutId id="2147483791" r:id="rId2"/>
    <p:sldLayoutId id="2147483774" r:id="rId3"/>
    <p:sldLayoutId id="2147483780" r:id="rId4"/>
    <p:sldLayoutId id="2147483782" r:id="rId5"/>
    <p:sldLayoutId id="2147483781" r:id="rId6"/>
    <p:sldLayoutId id="2147483794" r:id="rId7"/>
    <p:sldLayoutId id="2147483783" r:id="rId8"/>
    <p:sldLayoutId id="2147483785" r:id="rId9"/>
    <p:sldLayoutId id="2147483786" r:id="rId10"/>
    <p:sldLayoutId id="2147483787" r:id="rId11"/>
    <p:sldLayoutId id="2147483769" r:id="rId12"/>
    <p:sldLayoutId id="2147483764" r:id="rId13"/>
    <p:sldLayoutId id="2147483784" r:id="rId14"/>
    <p:sldLayoutId id="2147483765" r:id="rId15"/>
    <p:sldLayoutId id="2147483766" r:id="rId16"/>
    <p:sldLayoutId id="2147483767" r:id="rId17"/>
    <p:sldLayoutId id="2147483768" r:id="rId18"/>
    <p:sldLayoutId id="2147483788" r:id="rId19"/>
    <p:sldLayoutId id="2147483790" r:id="rId20"/>
    <p:sldLayoutId id="2147483793" r:id="rId21"/>
    <p:sldLayoutId id="2147483789" r:id="rId22"/>
    <p:sldLayoutId id="2147483775" r:id="rId23"/>
    <p:sldLayoutId id="2147483770" r:id="rId24"/>
    <p:sldLayoutId id="2147483771" r:id="rId25"/>
    <p:sldLayoutId id="2147483772" r:id="rId26"/>
    <p:sldLayoutId id="2147483773" r:id="rId27"/>
    <p:sldLayoutId id="2147483792" r:id="rId28"/>
    <p:sldLayoutId id="2147483795" r:id="rId29"/>
  </p:sldLayoutIdLst>
  <p:hf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93" userDrawn="1">
          <p15:clr>
            <a:srgbClr val="F26B43"/>
          </p15:clr>
        </p15:guide>
        <p15:guide id="3" orient="horz" pos="663" userDrawn="1">
          <p15:clr>
            <a:srgbClr val="F26B43"/>
          </p15:clr>
        </p15:guide>
        <p15:guide id="4" orient="horz" pos="845" userDrawn="1">
          <p15:clr>
            <a:srgbClr val="F26B43"/>
          </p15:clr>
        </p15:guide>
        <p15:guide id="5" orient="horz" pos="4133" userDrawn="1">
          <p15:clr>
            <a:srgbClr val="F26B43"/>
          </p15:clr>
        </p15:guide>
        <p15:guide id="6" pos="7287" userDrawn="1">
          <p15:clr>
            <a:srgbClr val="F26B43"/>
          </p15:clr>
        </p15:guide>
        <p15:guide id="7" pos="7469" userDrawn="1">
          <p15:clr>
            <a:srgbClr val="F26B43"/>
          </p15:clr>
        </p15:guide>
        <p15:guide id="8"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7.xml"/><Relationship Id="rId1" Type="http://schemas.openxmlformats.org/officeDocument/2006/relationships/slideLayout" Target="../slideLayouts/slideLayout29.xml"/><Relationship Id="rId5" Type="http://schemas.openxmlformats.org/officeDocument/2006/relationships/image" Target="../media/image22.png"/><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1.x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3.xml"/><Relationship Id="rId1" Type="http://schemas.openxmlformats.org/officeDocument/2006/relationships/tags" Target="../tags/tag2.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hyperlink" Target="https://www.bcn.cl/leychile/navegar?idNorma=1155887" TargetMode="External"/><Relationship Id="rId7" Type="http://schemas.openxmlformats.org/officeDocument/2006/relationships/diagramColors" Target="../diagrams/colors7.xml"/><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27.png"/><Relationship Id="rId4" Type="http://schemas.openxmlformats.org/officeDocument/2006/relationships/image" Target="../media/image26.sv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6.sv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8.xml"/><Relationship Id="rId5" Type="http://schemas.openxmlformats.org/officeDocument/2006/relationships/image" Target="../media/image30.png"/><Relationship Id="rId4" Type="http://schemas.openxmlformats.org/officeDocument/2006/relationships/image" Target="../media/image26.svg"/></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media/image26.svg"/></Relationships>
</file>

<file path=ppt/slides/_rels/slide22.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hyperlink" Target="https://www.bcn.cl/leychile/navegar?idNorma=1155887" TargetMode="External"/><Relationship Id="rId7" Type="http://schemas.openxmlformats.org/officeDocument/2006/relationships/diagramColors" Target="../diagrams/colors8.xml"/><Relationship Id="rId2" Type="http://schemas.openxmlformats.org/officeDocument/2006/relationships/notesSlide" Target="../notesSlides/notesSlide15.xml"/><Relationship Id="rId1" Type="http://schemas.openxmlformats.org/officeDocument/2006/relationships/slideLayout" Target="../slideLayouts/slideLayout18.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3.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chart" Target="../charts/chart4.xml"/><Relationship Id="rId7" Type="http://schemas.openxmlformats.org/officeDocument/2006/relationships/diagramColors" Target="../diagrams/colors9.xml"/><Relationship Id="rId2" Type="http://schemas.openxmlformats.org/officeDocument/2006/relationships/notesSlide" Target="../notesSlides/notesSlide16.xml"/><Relationship Id="rId1" Type="http://schemas.openxmlformats.org/officeDocument/2006/relationships/slideLayout" Target="../slideLayouts/slideLayout18.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s://www.bcn.cl/leychile/navegar?idNorma=1155887" TargetMode="External"/><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1.xml"/><Relationship Id="rId1" Type="http://schemas.openxmlformats.org/officeDocument/2006/relationships/slideLayout" Target="../slideLayouts/slideLayout1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s://www.bcn.cl/leychile/navegar?idNorma=1155887" TargetMode="External"/><Relationship Id="rId7" Type="http://schemas.openxmlformats.org/officeDocument/2006/relationships/diagramColors" Target="../diagrams/colors2.xml"/><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hyperlink" Target="https://www.bcn.cl/leychile/navegar?idNorma=1155887" TargetMode="External"/><Relationship Id="rId7" Type="http://schemas.openxmlformats.org/officeDocument/2006/relationships/diagramColors" Target="../diagrams/colors3.xml"/><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hyperlink" Target="https://www.bcn.cl/leychile/navegar?idNorma=1155887" TargetMode="External"/><Relationship Id="rId7"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3B1CD709-9ACC-43CE-9113-BC16363B6294}"/>
              </a:ext>
            </a:extLst>
          </p:cNvPr>
          <p:cNvSpPr>
            <a:spLocks noGrp="1"/>
          </p:cNvSpPr>
          <p:nvPr>
            <p:ph type="ctrTitle"/>
          </p:nvPr>
        </p:nvSpPr>
        <p:spPr>
          <a:xfrm>
            <a:off x="911406" y="5279242"/>
            <a:ext cx="5184594" cy="679782"/>
          </a:xfrm>
        </p:spPr>
        <p:txBody>
          <a:bodyPr>
            <a:noAutofit/>
          </a:bodyPr>
          <a:lstStyle/>
          <a:p>
            <a:r>
              <a:rPr lang="en-US" sz="3200" b="0">
                <a:cs typeface="Poppins"/>
              </a:rPr>
              <a:t>Vehicle Efficiency </a:t>
            </a:r>
            <a:r>
              <a:rPr lang="en-US" sz="3200" b="0" dirty="0">
                <a:cs typeface="Poppins"/>
              </a:rPr>
              <a:t>Standards: Chile's Experience</a:t>
            </a:r>
            <a:endParaRPr lang="es-ES" sz="3200" b="0" dirty="0">
              <a:cs typeface="Poppins"/>
            </a:endParaRPr>
          </a:p>
        </p:txBody>
      </p:sp>
      <p:sp>
        <p:nvSpPr>
          <p:cNvPr id="13" name="Marcador de texto 12">
            <a:extLst>
              <a:ext uri="{FF2B5EF4-FFF2-40B4-BE49-F238E27FC236}">
                <a16:creationId xmlns:a16="http://schemas.microsoft.com/office/drawing/2014/main" id="{003DCF51-428A-403B-832B-B2C4C32794C9}"/>
              </a:ext>
            </a:extLst>
          </p:cNvPr>
          <p:cNvSpPr>
            <a:spLocks noGrp="1"/>
          </p:cNvSpPr>
          <p:nvPr>
            <p:ph type="body" sz="quarter" idx="10"/>
          </p:nvPr>
        </p:nvSpPr>
        <p:spPr/>
        <p:txBody>
          <a:bodyPr vert="horz" lIns="91440" tIns="45720" rIns="91440" bIns="45720" rtlCol="0" anchor="t">
            <a:noAutofit/>
          </a:bodyPr>
          <a:lstStyle/>
          <a:p>
            <a:r>
              <a:rPr lang="es-ES" dirty="0" err="1"/>
              <a:t>November</a:t>
            </a:r>
            <a:r>
              <a:rPr lang="es-ES" dirty="0"/>
              <a:t> 2024</a:t>
            </a:r>
          </a:p>
        </p:txBody>
      </p:sp>
    </p:spTree>
    <p:extLst>
      <p:ext uri="{BB962C8B-B14F-4D97-AF65-F5344CB8AC3E}">
        <p14:creationId xmlns:p14="http://schemas.microsoft.com/office/powerpoint/2010/main" val="26546543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Object 5"/>
          <p:cNvGraphicFramePr>
            <a:graphicFrameLocks noChangeAspect="1"/>
          </p:cNvGraphicFramePr>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7410" name="Object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25 Título"/>
          <p:cNvSpPr>
            <a:spLocks noGrp="1"/>
          </p:cNvSpPr>
          <p:nvPr>
            <p:ph type="title"/>
          </p:nvPr>
        </p:nvSpPr>
        <p:spPr>
          <a:xfrm>
            <a:off x="1775520" y="332657"/>
            <a:ext cx="7776864" cy="615553"/>
          </a:xfrm>
        </p:spPr>
        <p:txBody>
          <a:bodyPr>
            <a:normAutofit fontScale="90000"/>
          </a:bodyPr>
          <a:lstStyle/>
          <a:p>
            <a:pPr algn="ctr"/>
            <a:r>
              <a:rPr lang="en-US" sz="2000" dirty="0">
                <a:solidFill>
                  <a:schemeClr val="bg2">
                    <a:lumMod val="50000"/>
                  </a:schemeClr>
                </a:solidFill>
              </a:rPr>
              <a:t>DRAFT STANDARD LAW ON ENERGY EFFICIENCY IN TRANSPORT</a:t>
            </a:r>
            <a:endParaRPr lang="es-CL" sz="2200" u="sng" dirty="0">
              <a:solidFill>
                <a:schemeClr val="bg2">
                  <a:lumMod val="25000"/>
                </a:schemeClr>
              </a:solidFill>
            </a:endParaRPr>
          </a:p>
        </p:txBody>
      </p:sp>
      <p:pic>
        <p:nvPicPr>
          <p:cNvPr id="3" name="Imagen 2"/>
          <p:cNvPicPr>
            <a:picLocks noChangeAspect="1"/>
          </p:cNvPicPr>
          <p:nvPr/>
        </p:nvPicPr>
        <p:blipFill>
          <a:blip r:embed="rId5"/>
          <a:stretch>
            <a:fillRect/>
          </a:stretch>
        </p:blipFill>
        <p:spPr>
          <a:xfrm>
            <a:off x="2423592" y="1268760"/>
            <a:ext cx="7128792" cy="5280222"/>
          </a:xfrm>
          <a:prstGeom prst="rect">
            <a:avLst/>
          </a:prstGeom>
        </p:spPr>
      </p:pic>
      <p:sp>
        <p:nvSpPr>
          <p:cNvPr id="2" name="Marcador de número de diapositiva 4">
            <a:extLst>
              <a:ext uri="{FF2B5EF4-FFF2-40B4-BE49-F238E27FC236}">
                <a16:creationId xmlns:a16="http://schemas.microsoft.com/office/drawing/2014/main" id="{D5D855C9-A0E6-0E2B-A686-45B586F312A7}"/>
              </a:ext>
            </a:extLst>
          </p:cNvPr>
          <p:cNvSpPr>
            <a:spLocks noGrp="1"/>
          </p:cNvSpPr>
          <p:nvPr>
            <p:ph type="sldNum" sz="quarter" idx="12"/>
          </p:nvPr>
        </p:nvSpPr>
        <p:spPr>
          <a:xfrm>
            <a:off x="11134725" y="6554574"/>
            <a:ext cx="722313" cy="303426"/>
          </a:xfrm>
        </p:spPr>
        <p:txBody>
          <a:bodyPr/>
          <a:lstStyle/>
          <a:p>
            <a:r>
              <a:rPr lang="es-CL" dirty="0"/>
              <a:t>|   </a:t>
            </a:r>
            <a:fld id="{785CD681-51D3-414E-83F2-54688883A8C2}" type="slidenum">
              <a:rPr lang="es-CL" smtClean="0"/>
              <a:pPr/>
              <a:t>10</a:t>
            </a:fld>
            <a:endParaRPr lang="es-CL" dirty="0"/>
          </a:p>
        </p:txBody>
      </p:sp>
      <p:sp>
        <p:nvSpPr>
          <p:cNvPr id="4" name="CuadroTexto 3">
            <a:extLst>
              <a:ext uri="{FF2B5EF4-FFF2-40B4-BE49-F238E27FC236}">
                <a16:creationId xmlns:a16="http://schemas.microsoft.com/office/drawing/2014/main" id="{B5FC579D-8301-762C-819D-033D634C1025}"/>
              </a:ext>
            </a:extLst>
          </p:cNvPr>
          <p:cNvSpPr txBox="1"/>
          <p:nvPr/>
        </p:nvSpPr>
        <p:spPr>
          <a:xfrm>
            <a:off x="2738121" y="1494503"/>
            <a:ext cx="2885931" cy="400110"/>
          </a:xfrm>
          <a:prstGeom prst="rect">
            <a:avLst/>
          </a:prstGeom>
          <a:solidFill>
            <a:srgbClr val="4F81BD"/>
          </a:solidFill>
        </p:spPr>
        <p:txBody>
          <a:bodyPr wrap="square" rtlCol="0">
            <a:spAutoFit/>
          </a:bodyPr>
          <a:lstStyle/>
          <a:p>
            <a:r>
              <a:rPr lang="de-DE" sz="2000" dirty="0">
                <a:solidFill>
                  <a:schemeClr val="bg1"/>
                </a:solidFill>
              </a:rPr>
              <a:t>Emission </a:t>
            </a:r>
            <a:r>
              <a:rPr lang="de-DE" sz="2000" dirty="0" err="1">
                <a:solidFill>
                  <a:schemeClr val="bg1"/>
                </a:solidFill>
              </a:rPr>
              <a:t>standards</a:t>
            </a:r>
            <a:endParaRPr lang="de-DE" sz="2000" dirty="0">
              <a:solidFill>
                <a:schemeClr val="bg1"/>
              </a:solidFill>
            </a:endParaRPr>
          </a:p>
        </p:txBody>
      </p:sp>
      <p:sp>
        <p:nvSpPr>
          <p:cNvPr id="5" name="CuadroTexto 4">
            <a:extLst>
              <a:ext uri="{FF2B5EF4-FFF2-40B4-BE49-F238E27FC236}">
                <a16:creationId xmlns:a16="http://schemas.microsoft.com/office/drawing/2014/main" id="{60C6A5BD-EBA3-5835-1933-4AA0A8D9142F}"/>
              </a:ext>
            </a:extLst>
          </p:cNvPr>
          <p:cNvSpPr txBox="1"/>
          <p:nvPr/>
        </p:nvSpPr>
        <p:spPr>
          <a:xfrm>
            <a:off x="6312147" y="1340615"/>
            <a:ext cx="2885931" cy="707886"/>
          </a:xfrm>
          <a:prstGeom prst="rect">
            <a:avLst/>
          </a:prstGeom>
          <a:solidFill>
            <a:srgbClr val="4F81BD"/>
          </a:solidFill>
        </p:spPr>
        <p:txBody>
          <a:bodyPr wrap="square" rtlCol="0">
            <a:spAutoFit/>
          </a:bodyPr>
          <a:lstStyle/>
          <a:p>
            <a:pPr algn="ctr"/>
            <a:r>
              <a:rPr lang="de-DE" sz="2000" dirty="0">
                <a:solidFill>
                  <a:schemeClr val="bg1"/>
                </a:solidFill>
              </a:rPr>
              <a:t>Vehicle </a:t>
            </a:r>
            <a:r>
              <a:rPr lang="de-DE" sz="2000" dirty="0" err="1">
                <a:solidFill>
                  <a:schemeClr val="bg1"/>
                </a:solidFill>
              </a:rPr>
              <a:t>efficiency</a:t>
            </a:r>
            <a:r>
              <a:rPr lang="de-DE" sz="2000" dirty="0">
                <a:solidFill>
                  <a:schemeClr val="bg1"/>
                </a:solidFill>
              </a:rPr>
              <a:t> </a:t>
            </a:r>
            <a:r>
              <a:rPr lang="de-DE" sz="2000" dirty="0" err="1">
                <a:solidFill>
                  <a:schemeClr val="bg1"/>
                </a:solidFill>
              </a:rPr>
              <a:t>standards</a:t>
            </a:r>
            <a:endParaRPr lang="de-DE" sz="2000" dirty="0">
              <a:solidFill>
                <a:schemeClr val="bg1"/>
              </a:solidFill>
            </a:endParaRPr>
          </a:p>
        </p:txBody>
      </p:sp>
    </p:spTree>
    <p:extLst>
      <p:ext uri="{BB962C8B-B14F-4D97-AF65-F5344CB8AC3E}">
        <p14:creationId xmlns:p14="http://schemas.microsoft.com/office/powerpoint/2010/main" val="1341259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Object 5"/>
          <p:cNvGraphicFramePr>
            <a:graphicFrameLocks noChangeAspect="1"/>
          </p:cNvGraphicFramePr>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17410"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11" name="Slide Number Placeholder 2"/>
          <p:cNvSpPr>
            <a:spLocks noGrp="1"/>
          </p:cNvSpPr>
          <p:nvPr>
            <p:ph type="sldNum" sz="quarter" idx="12"/>
            <p:custDataLst>
              <p:tags r:id="rId1"/>
            </p:custDataLst>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s-CL" altLang="es-CL" dirty="0">
              <a:solidFill>
                <a:schemeClr val="bg1"/>
              </a:solidFill>
            </a:endParaRPr>
          </a:p>
        </p:txBody>
      </p:sp>
      <p:pic>
        <p:nvPicPr>
          <p:cNvPr id="9" name="Imagen 8"/>
          <p:cNvPicPr>
            <a:picLocks noChangeAspect="1"/>
          </p:cNvPicPr>
          <p:nvPr/>
        </p:nvPicPr>
        <p:blipFill>
          <a:blip r:embed="rId6"/>
          <a:stretch>
            <a:fillRect/>
          </a:stretch>
        </p:blipFill>
        <p:spPr>
          <a:xfrm>
            <a:off x="1962845" y="728992"/>
            <a:ext cx="8195310" cy="5825582"/>
          </a:xfrm>
          <a:prstGeom prst="rect">
            <a:avLst/>
          </a:prstGeom>
        </p:spPr>
      </p:pic>
      <p:sp>
        <p:nvSpPr>
          <p:cNvPr id="2" name="Marcador de número de diapositiva 4">
            <a:extLst>
              <a:ext uri="{FF2B5EF4-FFF2-40B4-BE49-F238E27FC236}">
                <a16:creationId xmlns:a16="http://schemas.microsoft.com/office/drawing/2014/main" id="{08D1939A-7DF3-51A5-8782-D41843B5EE4F}"/>
              </a:ext>
            </a:extLst>
          </p:cNvPr>
          <p:cNvSpPr txBox="1">
            <a:spLocks/>
          </p:cNvSpPr>
          <p:nvPr/>
        </p:nvSpPr>
        <p:spPr>
          <a:xfrm>
            <a:off x="10879719" y="6554574"/>
            <a:ext cx="788178" cy="303426"/>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chemeClr val="bg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s-CL" dirty="0"/>
              <a:t>|   </a:t>
            </a:r>
            <a:fld id="{785CD681-51D3-414E-83F2-54688883A8C2}" type="slidenum">
              <a:rPr lang="es-CL" smtClean="0"/>
              <a:pPr/>
              <a:t>11</a:t>
            </a:fld>
            <a:endParaRPr lang="es-CL" dirty="0"/>
          </a:p>
        </p:txBody>
      </p:sp>
      <p:sp>
        <p:nvSpPr>
          <p:cNvPr id="5" name="Título 4">
            <a:extLst>
              <a:ext uri="{FF2B5EF4-FFF2-40B4-BE49-F238E27FC236}">
                <a16:creationId xmlns:a16="http://schemas.microsoft.com/office/drawing/2014/main" id="{64748959-4AB4-B5C9-B412-B2221B61B51C}"/>
              </a:ext>
            </a:extLst>
          </p:cNvPr>
          <p:cNvSpPr>
            <a:spLocks noGrp="1"/>
          </p:cNvSpPr>
          <p:nvPr>
            <p:ph type="title"/>
          </p:nvPr>
        </p:nvSpPr>
        <p:spPr/>
        <p:txBody>
          <a:bodyPr>
            <a:normAutofit fontScale="90000"/>
          </a:bodyPr>
          <a:lstStyle/>
          <a:p>
            <a:endParaRPr lang="de-DE"/>
          </a:p>
        </p:txBody>
      </p:sp>
      <p:sp>
        <p:nvSpPr>
          <p:cNvPr id="6" name="25 Título">
            <a:extLst>
              <a:ext uri="{FF2B5EF4-FFF2-40B4-BE49-F238E27FC236}">
                <a16:creationId xmlns:a16="http://schemas.microsoft.com/office/drawing/2014/main" id="{7435215D-B52F-7AAC-DE9D-54FE21F2BB4C}"/>
              </a:ext>
            </a:extLst>
          </p:cNvPr>
          <p:cNvSpPr txBox="1">
            <a:spLocks/>
          </p:cNvSpPr>
          <p:nvPr/>
        </p:nvSpPr>
        <p:spPr bwMode="auto">
          <a:xfrm>
            <a:off x="1775520" y="186301"/>
            <a:ext cx="8195310" cy="615553"/>
          </a:xfrm>
          <a:prstGeom prst="rect">
            <a:avLst/>
          </a:prstGeom>
          <a:noFill/>
          <a:ln w="9525">
            <a:noFill/>
            <a:miter lim="800000"/>
            <a:headEnd/>
            <a:tailEnd/>
          </a:ln>
        </p:spPr>
        <p:txBody>
          <a:bodyPr vert="horz" lIns="91440" tIns="45720" rIns="91440" bIns="45720" rtlCol="0" anchor="b">
            <a:normAutofit fontScale="97500"/>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r>
              <a:rPr lang="en-US" sz="1800">
                <a:solidFill>
                  <a:schemeClr val="bg2">
                    <a:lumMod val="50000"/>
                  </a:schemeClr>
                </a:solidFill>
              </a:rPr>
              <a:t>DRAFT STANDARD LAW ON ENERGY EFFICIENCY IN TRANSPORT</a:t>
            </a:r>
            <a:endParaRPr lang="es-CL" sz="2000" u="sng" dirty="0">
              <a:solidFill>
                <a:schemeClr val="bg2">
                  <a:lumMod val="25000"/>
                </a:schemeClr>
              </a:solidFill>
            </a:endParaRPr>
          </a:p>
        </p:txBody>
      </p:sp>
    </p:spTree>
    <p:extLst>
      <p:ext uri="{BB962C8B-B14F-4D97-AF65-F5344CB8AC3E}">
        <p14:creationId xmlns:p14="http://schemas.microsoft.com/office/powerpoint/2010/main" val="11987414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1"/>
          <p:cNvPicPr>
            <a:picLocks noChangeAspect="1"/>
          </p:cNvPicPr>
          <p:nvPr/>
        </p:nvPicPr>
        <p:blipFill rotWithShape="1">
          <a:blip r:embed="rId4"/>
          <a:srcRect b="9661"/>
          <a:stretch/>
        </p:blipFill>
        <p:spPr>
          <a:xfrm>
            <a:off x="1791334" y="528452"/>
            <a:ext cx="8404225" cy="5961809"/>
          </a:xfrm>
          <a:prstGeom prst="rect">
            <a:avLst/>
          </a:prstGeom>
        </p:spPr>
      </p:pic>
      <p:sp>
        <p:nvSpPr>
          <p:cNvPr id="5" name="1 Título"/>
          <p:cNvSpPr txBox="1">
            <a:spLocks/>
          </p:cNvSpPr>
          <p:nvPr/>
        </p:nvSpPr>
        <p:spPr bwMode="auto">
          <a:xfrm>
            <a:off x="1652589" y="174859"/>
            <a:ext cx="8404225"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defTabSz="914400"/>
            <a:endParaRPr lang="es-CL" sz="2000">
              <a:solidFill>
                <a:srgbClr val="4F81BD"/>
              </a:solidFill>
              <a:latin typeface="Verdana" pitchFamily="34" charset="0"/>
            </a:endParaRPr>
          </a:p>
        </p:txBody>
      </p:sp>
      <p:sp>
        <p:nvSpPr>
          <p:cNvPr id="2" name="Elipse 1">
            <a:extLst>
              <a:ext uri="{FF2B5EF4-FFF2-40B4-BE49-F238E27FC236}">
                <a16:creationId xmlns:a16="http://schemas.microsoft.com/office/drawing/2014/main" id="{8AE2A24C-2C76-FDAB-DB13-65F7981AFC37}"/>
              </a:ext>
            </a:extLst>
          </p:cNvPr>
          <p:cNvSpPr/>
          <p:nvPr/>
        </p:nvSpPr>
        <p:spPr>
          <a:xfrm>
            <a:off x="8046720" y="3097530"/>
            <a:ext cx="2148839" cy="1474470"/>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 name="Slide Number Placeholder 2">
            <a:extLst>
              <a:ext uri="{FF2B5EF4-FFF2-40B4-BE49-F238E27FC236}">
                <a16:creationId xmlns:a16="http://schemas.microsoft.com/office/drawing/2014/main" id="{A5269CD7-E8A4-9DCE-78E1-95A4A6158581}"/>
              </a:ext>
            </a:extLst>
          </p:cNvPr>
          <p:cNvSpPr>
            <a:spLocks noGrp="1"/>
          </p:cNvSpPr>
          <p:nvPr>
            <p:ph type="sldNum" sz="quarter" idx="12"/>
            <p:custDataLst>
              <p:tags r:id="rId1"/>
            </p:custDataLst>
          </p:nvPr>
        </p:nvSpPr>
        <p:spPr>
          <a:xfrm>
            <a:off x="11134725" y="6554574"/>
            <a:ext cx="722313" cy="3034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s-CL" altLang="es-CL" dirty="0">
              <a:solidFill>
                <a:schemeClr val="bg1"/>
              </a:solidFill>
            </a:endParaRPr>
          </a:p>
        </p:txBody>
      </p:sp>
      <p:sp>
        <p:nvSpPr>
          <p:cNvPr id="7" name="Marcador de número de diapositiva 4">
            <a:extLst>
              <a:ext uri="{FF2B5EF4-FFF2-40B4-BE49-F238E27FC236}">
                <a16:creationId xmlns:a16="http://schemas.microsoft.com/office/drawing/2014/main" id="{55FD1BED-692C-7695-8352-B29E10FD4BA8}"/>
              </a:ext>
            </a:extLst>
          </p:cNvPr>
          <p:cNvSpPr txBox="1">
            <a:spLocks/>
          </p:cNvSpPr>
          <p:nvPr/>
        </p:nvSpPr>
        <p:spPr>
          <a:xfrm>
            <a:off x="11305232" y="6554574"/>
            <a:ext cx="722313" cy="303426"/>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chemeClr val="bg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s-CL"/>
              <a:t>|   </a:t>
            </a:r>
            <a:fld id="{785CD681-51D3-414E-83F2-54688883A8C2}" type="slidenum">
              <a:rPr lang="es-CL" smtClean="0"/>
              <a:pPr/>
              <a:t>12</a:t>
            </a:fld>
            <a:endParaRPr lang="es-CL" dirty="0"/>
          </a:p>
        </p:txBody>
      </p:sp>
      <p:sp>
        <p:nvSpPr>
          <p:cNvPr id="9" name="CuadroTexto 8">
            <a:extLst>
              <a:ext uri="{FF2B5EF4-FFF2-40B4-BE49-F238E27FC236}">
                <a16:creationId xmlns:a16="http://schemas.microsoft.com/office/drawing/2014/main" id="{789DDC72-7B5C-C51E-3E6D-092859807CAC}"/>
              </a:ext>
            </a:extLst>
          </p:cNvPr>
          <p:cNvSpPr txBox="1"/>
          <p:nvPr/>
        </p:nvSpPr>
        <p:spPr>
          <a:xfrm>
            <a:off x="3025139" y="128342"/>
            <a:ext cx="6096000" cy="400110"/>
          </a:xfrm>
          <a:prstGeom prst="rect">
            <a:avLst/>
          </a:prstGeom>
        </p:spPr>
        <p:txBody>
          <a:bodyPr vert="horz" lIns="91440" tIns="45720" rIns="91440" bIns="45720" rtlCol="0">
            <a:noAutofit/>
          </a:bodyPr>
          <a:lstStyle>
            <a:defPPr>
              <a:defRPr lang="en-US"/>
            </a:defPPr>
            <a:lvl1pPr indent="0" defTabSz="914400">
              <a:spcBef>
                <a:spcPct val="20000"/>
              </a:spcBef>
              <a:buFont typeface="Arial" panose="020B0604020202020204" pitchFamily="34" charset="0"/>
              <a:buNone/>
              <a:defRPr sz="2000" b="1">
                <a:solidFill>
                  <a:srgbClr val="4F81BD"/>
                </a:solidFill>
                <a:latin typeface="Verdana" pitchFamily="34" charset="0"/>
                <a:ea typeface="ヒラギノ角ゴ Pro W3"/>
                <a:cs typeface="ヒラギノ角ゴ Pro W3"/>
              </a:defRPr>
            </a:lvl1pPr>
            <a:lvl2pPr marL="742950" indent="-285750" defTabSz="914400">
              <a:spcBef>
                <a:spcPct val="20000"/>
              </a:spcBef>
              <a:buFont typeface="Arial" panose="020B0604020202020204" pitchFamily="34" charset="0"/>
              <a:buChar char="–"/>
              <a:defRPr sz="2800">
                <a:solidFill>
                  <a:schemeClr val="tx1">
                    <a:lumMod val="65000"/>
                    <a:lumOff val="35000"/>
                  </a:schemeClr>
                </a:solidFill>
              </a:defRPr>
            </a:lvl2pPr>
            <a:lvl3pPr marL="1143000" indent="-228600" defTabSz="914400">
              <a:spcBef>
                <a:spcPct val="20000"/>
              </a:spcBef>
              <a:buFont typeface="Arial" panose="020B0604020202020204" pitchFamily="34" charset="0"/>
              <a:buChar char="•"/>
              <a:defRPr sz="2400">
                <a:solidFill>
                  <a:schemeClr val="tx1">
                    <a:lumMod val="65000"/>
                    <a:lumOff val="35000"/>
                  </a:schemeClr>
                </a:solidFill>
              </a:defRPr>
            </a:lvl3pPr>
            <a:lvl4pPr marL="1600200" indent="-228600" defTabSz="914400">
              <a:spcBef>
                <a:spcPct val="20000"/>
              </a:spcBef>
              <a:buFont typeface="Arial" panose="020B0604020202020204" pitchFamily="34" charset="0"/>
              <a:buChar char="–"/>
              <a:defRPr sz="2000">
                <a:solidFill>
                  <a:schemeClr val="tx1">
                    <a:lumMod val="65000"/>
                    <a:lumOff val="35000"/>
                  </a:schemeClr>
                </a:solidFill>
              </a:defRPr>
            </a:lvl4pPr>
            <a:lvl5pPr marL="2057400" indent="-228600" defTabSz="914400">
              <a:spcBef>
                <a:spcPct val="20000"/>
              </a:spcBef>
              <a:buFont typeface="Arial" panose="020B0604020202020204" pitchFamily="34" charset="0"/>
              <a:buChar char="»"/>
              <a:defRPr sz="2000">
                <a:solidFill>
                  <a:schemeClr val="tx1">
                    <a:lumMod val="65000"/>
                    <a:lumOff val="35000"/>
                  </a:schemeClr>
                </a:solidFill>
              </a:defRPr>
            </a:lvl5pPr>
            <a:lvl6pPr marL="2514600" indent="-228600" defTabSz="914400">
              <a:spcBef>
                <a:spcPct val="20000"/>
              </a:spcBef>
              <a:buFont typeface="Arial" panose="020B0604020202020204" pitchFamily="34" charset="0"/>
              <a:buChar char="•"/>
              <a:defRPr sz="2000"/>
            </a:lvl6pPr>
            <a:lvl7pPr marL="2971800" indent="-228600" defTabSz="914400">
              <a:spcBef>
                <a:spcPct val="20000"/>
              </a:spcBef>
              <a:buFont typeface="Arial" panose="020B0604020202020204" pitchFamily="34" charset="0"/>
              <a:buChar char="•"/>
              <a:defRPr sz="2000"/>
            </a:lvl7pPr>
            <a:lvl8pPr marL="3429000" indent="-228600" defTabSz="914400">
              <a:spcBef>
                <a:spcPct val="20000"/>
              </a:spcBef>
              <a:buFont typeface="Arial" panose="020B0604020202020204" pitchFamily="34" charset="0"/>
              <a:buChar char="•"/>
              <a:defRPr sz="2000"/>
            </a:lvl8pPr>
            <a:lvl9pPr marL="3886200" indent="-228600" defTabSz="914400">
              <a:spcBef>
                <a:spcPct val="20000"/>
              </a:spcBef>
              <a:buFont typeface="Arial" panose="020B0604020202020204" pitchFamily="34" charset="0"/>
              <a:buChar char="•"/>
              <a:defRPr sz="2000"/>
            </a:lvl9pPr>
          </a:lstStyle>
          <a:p>
            <a:r>
              <a:rPr lang="en-US" dirty="0"/>
              <a:t>Enforcement of Vehicle EE Standards</a:t>
            </a:r>
          </a:p>
        </p:txBody>
      </p:sp>
    </p:spTree>
    <p:extLst>
      <p:ext uri="{BB962C8B-B14F-4D97-AF65-F5344CB8AC3E}">
        <p14:creationId xmlns:p14="http://schemas.microsoft.com/office/powerpoint/2010/main" val="20482439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551ABF-1818-53DB-462D-88A2728B7B2C}"/>
            </a:ext>
          </a:extLst>
        </p:cNvPr>
        <p:cNvGrpSpPr/>
        <p:nvPr/>
      </p:nvGrpSpPr>
      <p:grpSpPr>
        <a:xfrm>
          <a:off x="0" y="0"/>
          <a:ext cx="0" cy="0"/>
          <a:chOff x="0" y="0"/>
          <a:chExt cx="0" cy="0"/>
        </a:xfrm>
      </p:grpSpPr>
      <p:sp>
        <p:nvSpPr>
          <p:cNvPr id="10" name="Rectángulo 9">
            <a:extLst>
              <a:ext uri="{FF2B5EF4-FFF2-40B4-BE49-F238E27FC236}">
                <a16:creationId xmlns:a16="http://schemas.microsoft.com/office/drawing/2014/main" id="{90B1CAD0-F3EF-FA68-F00B-9DF24207AB25}"/>
              </a:ext>
            </a:extLst>
          </p:cNvPr>
          <p:cNvSpPr/>
          <p:nvPr/>
        </p:nvSpPr>
        <p:spPr>
          <a:xfrm>
            <a:off x="0" y="643467"/>
            <a:ext cx="12192000" cy="7448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CuadroTexto 6">
            <a:extLst>
              <a:ext uri="{FF2B5EF4-FFF2-40B4-BE49-F238E27FC236}">
                <a16:creationId xmlns:a16="http://schemas.microsoft.com/office/drawing/2014/main" id="{08B5883F-28DA-DB8E-BBAE-2C9A7621FB2C}"/>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dirty="0">
                <a:solidFill>
                  <a:schemeClr val="bg1"/>
                </a:solidFill>
                <a:latin typeface="+mj-lt"/>
                <a:ea typeface="+mj-ea"/>
                <a:cs typeface="+mj-cs"/>
              </a:rPr>
              <a:t>Stages - Vehicle Energy Efficiency</a:t>
            </a:r>
            <a:endParaRPr lang="en-US" sz="3200" kern="1200" dirty="0">
              <a:solidFill>
                <a:schemeClr val="bg1"/>
              </a:solidFill>
              <a:latin typeface="+mj-lt"/>
              <a:ea typeface="+mj-ea"/>
              <a:cs typeface="+mj-cs"/>
            </a:endParaRPr>
          </a:p>
        </p:txBody>
      </p:sp>
      <p:sp>
        <p:nvSpPr>
          <p:cNvPr id="6" name="Rectangle 1">
            <a:hlinkClick r:id="rId3"/>
            <a:extLst>
              <a:ext uri="{FF2B5EF4-FFF2-40B4-BE49-F238E27FC236}">
                <a16:creationId xmlns:a16="http://schemas.microsoft.com/office/drawing/2014/main" id="{53340AFD-A8E5-790F-65B7-AD49D70CDAE1}"/>
              </a:ext>
            </a:extLst>
          </p:cNvPr>
          <p:cNvSpPr>
            <a:spLocks noChangeArrowheads="1"/>
          </p:cNvSpPr>
          <p:nvPr/>
        </p:nvSpPr>
        <p:spPr bwMode="auto">
          <a:xfrm>
            <a:off x="838200" y="2713038"/>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L"/>
          </a:p>
        </p:txBody>
      </p:sp>
      <p:graphicFrame>
        <p:nvGraphicFramePr>
          <p:cNvPr id="8" name="Marcador de contenido 2">
            <a:extLst>
              <a:ext uri="{FF2B5EF4-FFF2-40B4-BE49-F238E27FC236}">
                <a16:creationId xmlns:a16="http://schemas.microsoft.com/office/drawing/2014/main" id="{404B2C0E-22DC-94D8-4A5A-BA9981DC8D9D}"/>
              </a:ext>
            </a:extLst>
          </p:cNvPr>
          <p:cNvGraphicFramePr/>
          <p:nvPr/>
        </p:nvGraphicFramePr>
        <p:xfrm>
          <a:off x="588644" y="1828094"/>
          <a:ext cx="11428095" cy="4378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ángulo 1">
            <a:extLst>
              <a:ext uri="{FF2B5EF4-FFF2-40B4-BE49-F238E27FC236}">
                <a16:creationId xmlns:a16="http://schemas.microsoft.com/office/drawing/2014/main" id="{43496101-0E56-5104-05E8-4D86C7744DF8}"/>
              </a:ext>
            </a:extLst>
          </p:cNvPr>
          <p:cNvSpPr/>
          <p:nvPr/>
        </p:nvSpPr>
        <p:spPr>
          <a:xfrm>
            <a:off x="925830" y="1603252"/>
            <a:ext cx="3406140" cy="45719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dirty="0"/>
              <a:t>1st </a:t>
            </a:r>
            <a:r>
              <a:rPr lang="es-MX" dirty="0" err="1"/>
              <a:t>Stage</a:t>
            </a:r>
            <a:endParaRPr lang="es-CL" dirty="0"/>
          </a:p>
        </p:txBody>
      </p:sp>
      <p:sp>
        <p:nvSpPr>
          <p:cNvPr id="4" name="Rectángulo 3">
            <a:extLst>
              <a:ext uri="{FF2B5EF4-FFF2-40B4-BE49-F238E27FC236}">
                <a16:creationId xmlns:a16="http://schemas.microsoft.com/office/drawing/2014/main" id="{3EB62EFD-94FE-E2D4-588D-7526126B58D1}"/>
              </a:ext>
            </a:extLst>
          </p:cNvPr>
          <p:cNvSpPr/>
          <p:nvPr/>
        </p:nvSpPr>
        <p:spPr>
          <a:xfrm>
            <a:off x="4331970" y="1612176"/>
            <a:ext cx="2426970" cy="448275"/>
          </a:xfrm>
          <a:prstGeom prst="rect">
            <a:avLst/>
          </a:prstGeom>
          <a:ln>
            <a:solidFill>
              <a:srgbClr val="68B0AB"/>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s-MX" dirty="0"/>
              <a:t>Step 2</a:t>
            </a:r>
            <a:endParaRPr lang="es-CL" dirty="0"/>
          </a:p>
        </p:txBody>
      </p:sp>
      <p:sp>
        <p:nvSpPr>
          <p:cNvPr id="5" name="Rectángulo 4">
            <a:extLst>
              <a:ext uri="{FF2B5EF4-FFF2-40B4-BE49-F238E27FC236}">
                <a16:creationId xmlns:a16="http://schemas.microsoft.com/office/drawing/2014/main" id="{F511C4AE-D1BF-002A-97E1-DD658A3205E2}"/>
              </a:ext>
            </a:extLst>
          </p:cNvPr>
          <p:cNvSpPr/>
          <p:nvPr/>
        </p:nvSpPr>
        <p:spPr>
          <a:xfrm>
            <a:off x="6758940" y="1612176"/>
            <a:ext cx="4827270" cy="445153"/>
          </a:xfrm>
          <a:prstGeom prst="rect">
            <a:avLst/>
          </a:prstGeom>
          <a:solidFill>
            <a:srgbClr val="00B050"/>
          </a:solidFill>
          <a:ln>
            <a:solidFill>
              <a:srgbClr val="00B050"/>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s-MX" dirty="0"/>
              <a:t>3rd </a:t>
            </a:r>
            <a:r>
              <a:rPr lang="es-MX" dirty="0" err="1"/>
              <a:t>Stage</a:t>
            </a:r>
            <a:endParaRPr lang="es-CL" dirty="0"/>
          </a:p>
        </p:txBody>
      </p:sp>
      <p:sp>
        <p:nvSpPr>
          <p:cNvPr id="9" name="Marcador de número de diapositiva 4">
            <a:extLst>
              <a:ext uri="{FF2B5EF4-FFF2-40B4-BE49-F238E27FC236}">
                <a16:creationId xmlns:a16="http://schemas.microsoft.com/office/drawing/2014/main" id="{83381331-38C4-95B0-BCEB-D3E5F3016526}"/>
              </a:ext>
            </a:extLst>
          </p:cNvPr>
          <p:cNvSpPr>
            <a:spLocks noGrp="1"/>
          </p:cNvSpPr>
          <p:nvPr>
            <p:ph type="sldNum" sz="quarter" idx="12"/>
          </p:nvPr>
        </p:nvSpPr>
        <p:spPr>
          <a:xfrm>
            <a:off x="11134725" y="6554574"/>
            <a:ext cx="722313" cy="303426"/>
          </a:xfrm>
        </p:spPr>
        <p:txBody>
          <a:bodyPr/>
          <a:lstStyle/>
          <a:p>
            <a:r>
              <a:rPr lang="es-CL" dirty="0"/>
              <a:t>|   </a:t>
            </a:r>
            <a:fld id="{785CD681-51D3-414E-83F2-54688883A8C2}" type="slidenum">
              <a:rPr lang="es-CL" smtClean="0"/>
              <a:pPr/>
              <a:t>13</a:t>
            </a:fld>
            <a:endParaRPr lang="es-CL" dirty="0"/>
          </a:p>
        </p:txBody>
      </p:sp>
      <p:sp>
        <p:nvSpPr>
          <p:cNvPr id="3" name="Elipse 2">
            <a:extLst>
              <a:ext uri="{FF2B5EF4-FFF2-40B4-BE49-F238E27FC236}">
                <a16:creationId xmlns:a16="http://schemas.microsoft.com/office/drawing/2014/main" id="{D0E3FFD4-54C4-A2AB-D3A4-BE01B986CA88}"/>
              </a:ext>
            </a:extLst>
          </p:cNvPr>
          <p:cNvSpPr/>
          <p:nvPr/>
        </p:nvSpPr>
        <p:spPr>
          <a:xfrm>
            <a:off x="6737556" y="1207882"/>
            <a:ext cx="5219699" cy="4959761"/>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1252556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ítulo 16">
            <a:extLst>
              <a:ext uri="{FF2B5EF4-FFF2-40B4-BE49-F238E27FC236}">
                <a16:creationId xmlns:a16="http://schemas.microsoft.com/office/drawing/2014/main" id="{3E8C72A8-A418-4B32-9F3F-D4ED96AFBCBE}"/>
              </a:ext>
            </a:extLst>
          </p:cNvPr>
          <p:cNvSpPr>
            <a:spLocks noGrp="1"/>
          </p:cNvSpPr>
          <p:nvPr>
            <p:ph type="title"/>
          </p:nvPr>
        </p:nvSpPr>
        <p:spPr>
          <a:xfrm>
            <a:off x="623887" y="168563"/>
            <a:ext cx="10510837" cy="883951"/>
          </a:xfrm>
        </p:spPr>
        <p:txBody>
          <a:bodyPr>
            <a:normAutofit/>
          </a:bodyPr>
          <a:lstStyle/>
          <a:p>
            <a:r>
              <a:rPr lang="en-US"/>
              <a:t>Analysis of the Light Vehicle Market in Chile</a:t>
            </a:r>
            <a:endParaRPr lang="es-CL" dirty="0"/>
          </a:p>
        </p:txBody>
      </p:sp>
      <p:sp>
        <p:nvSpPr>
          <p:cNvPr id="4" name="Marcador de pie de página 3">
            <a:extLst>
              <a:ext uri="{FF2B5EF4-FFF2-40B4-BE49-F238E27FC236}">
                <a16:creationId xmlns:a16="http://schemas.microsoft.com/office/drawing/2014/main" id="{A396C63C-E449-446A-8094-128996AEBBBF}"/>
              </a:ext>
            </a:extLst>
          </p:cNvPr>
          <p:cNvSpPr>
            <a:spLocks noGrp="1"/>
          </p:cNvSpPr>
          <p:nvPr>
            <p:ph type="ftr" sz="quarter" idx="11"/>
          </p:nvPr>
        </p:nvSpPr>
        <p:spPr>
          <a:xfrm>
            <a:off x="6157912" y="6561138"/>
            <a:ext cx="5180520" cy="303426"/>
          </a:xfrm>
        </p:spPr>
        <p:txBody>
          <a:bodyPr/>
          <a:lstStyle/>
          <a:p>
            <a:endParaRPr lang="es-CL"/>
          </a:p>
        </p:txBody>
      </p:sp>
      <p:sp>
        <p:nvSpPr>
          <p:cNvPr id="5" name="Marcador de número de diapositiva 4">
            <a:extLst>
              <a:ext uri="{FF2B5EF4-FFF2-40B4-BE49-F238E27FC236}">
                <a16:creationId xmlns:a16="http://schemas.microsoft.com/office/drawing/2014/main" id="{7E6AD5A7-0F47-497B-8B57-B9409136B331}"/>
              </a:ext>
            </a:extLst>
          </p:cNvPr>
          <p:cNvSpPr>
            <a:spLocks noGrp="1"/>
          </p:cNvSpPr>
          <p:nvPr>
            <p:ph type="sldNum" sz="quarter" idx="12"/>
          </p:nvPr>
        </p:nvSpPr>
        <p:spPr>
          <a:xfrm>
            <a:off x="11134725" y="6554574"/>
            <a:ext cx="722313" cy="303426"/>
          </a:xfrm>
        </p:spPr>
        <p:txBody>
          <a:bodyPr/>
          <a:lstStyle/>
          <a:p>
            <a:r>
              <a:rPr lang="es-CL" dirty="0"/>
              <a:t>|   </a:t>
            </a:r>
            <a:fld id="{785CD681-51D3-414E-83F2-54688883A8C2}" type="slidenum">
              <a:rPr lang="es-CL" smtClean="0"/>
              <a:pPr/>
              <a:t>14</a:t>
            </a:fld>
            <a:endParaRPr lang="es-CL" dirty="0"/>
          </a:p>
        </p:txBody>
      </p:sp>
      <p:sp>
        <p:nvSpPr>
          <p:cNvPr id="18" name="Marcador de texto 17">
            <a:extLst>
              <a:ext uri="{FF2B5EF4-FFF2-40B4-BE49-F238E27FC236}">
                <a16:creationId xmlns:a16="http://schemas.microsoft.com/office/drawing/2014/main" id="{D3F78351-6460-442B-B81B-89E3248145EE}"/>
              </a:ext>
            </a:extLst>
          </p:cNvPr>
          <p:cNvSpPr>
            <a:spLocks noGrp="1"/>
          </p:cNvSpPr>
          <p:nvPr>
            <p:ph type="body" sz="quarter" idx="13"/>
          </p:nvPr>
        </p:nvSpPr>
        <p:spPr/>
        <p:txBody>
          <a:bodyPr/>
          <a:lstStyle/>
          <a:p>
            <a:r>
              <a:rPr lang="en-US"/>
              <a:t>Sales and main technological composition</a:t>
            </a:r>
            <a:endParaRPr lang="es-CL" dirty="0"/>
          </a:p>
        </p:txBody>
      </p:sp>
      <p:sp>
        <p:nvSpPr>
          <p:cNvPr id="8" name="CuadroTexto 7">
            <a:extLst>
              <a:ext uri="{FF2B5EF4-FFF2-40B4-BE49-F238E27FC236}">
                <a16:creationId xmlns:a16="http://schemas.microsoft.com/office/drawing/2014/main" id="{377477EA-1AE9-4F78-BA58-4B3FFF4EAA8C}"/>
              </a:ext>
            </a:extLst>
          </p:cNvPr>
          <p:cNvSpPr txBox="1"/>
          <p:nvPr/>
        </p:nvSpPr>
        <p:spPr>
          <a:xfrm>
            <a:off x="2192341" y="1828936"/>
            <a:ext cx="2037737" cy="338554"/>
          </a:xfrm>
          <a:prstGeom prst="rect">
            <a:avLst/>
          </a:prstGeom>
          <a:noFill/>
        </p:spPr>
        <p:txBody>
          <a:bodyPr wrap="none" rtlCol="0">
            <a:spAutoFit/>
          </a:bodyPr>
          <a:lstStyle/>
          <a:p>
            <a:r>
              <a:rPr lang="es-ES" sz="1600" b="1"/>
              <a:t>Annual Sales Chile</a:t>
            </a:r>
            <a:endParaRPr lang="es-CL" sz="1600" b="1" dirty="0"/>
          </a:p>
        </p:txBody>
      </p:sp>
      <p:graphicFrame>
        <p:nvGraphicFramePr>
          <p:cNvPr id="12" name="Gráfico 11">
            <a:extLst>
              <a:ext uri="{FF2B5EF4-FFF2-40B4-BE49-F238E27FC236}">
                <a16:creationId xmlns:a16="http://schemas.microsoft.com/office/drawing/2014/main" id="{49AB6727-250E-454E-A623-354A1B7F4D53}"/>
              </a:ext>
            </a:extLst>
          </p:cNvPr>
          <p:cNvGraphicFramePr>
            <a:graphicFrameLocks noGrp="1"/>
          </p:cNvGraphicFramePr>
          <p:nvPr/>
        </p:nvGraphicFramePr>
        <p:xfrm>
          <a:off x="77714" y="2302526"/>
          <a:ext cx="6511999" cy="4071287"/>
        </p:xfrm>
        <a:graphic>
          <a:graphicData uri="http://schemas.openxmlformats.org/drawingml/2006/chart">
            <c:chart xmlns:c="http://schemas.openxmlformats.org/drawingml/2006/chart" xmlns:r="http://schemas.openxmlformats.org/officeDocument/2006/relationships" r:id="rId2"/>
          </a:graphicData>
        </a:graphic>
      </p:graphicFrame>
      <p:sp>
        <p:nvSpPr>
          <p:cNvPr id="19" name="CuadroTexto 18">
            <a:extLst>
              <a:ext uri="{FF2B5EF4-FFF2-40B4-BE49-F238E27FC236}">
                <a16:creationId xmlns:a16="http://schemas.microsoft.com/office/drawing/2014/main" id="{85FF93F7-DD7E-42AF-9DBE-0BB13A1A9BEF}"/>
              </a:ext>
            </a:extLst>
          </p:cNvPr>
          <p:cNvSpPr txBox="1"/>
          <p:nvPr/>
        </p:nvSpPr>
        <p:spPr>
          <a:xfrm>
            <a:off x="6157912" y="1889870"/>
            <a:ext cx="5472113" cy="2062103"/>
          </a:xfrm>
          <a:prstGeom prst="rect">
            <a:avLst/>
          </a:prstGeom>
          <a:noFill/>
        </p:spPr>
        <p:txBody>
          <a:bodyPr wrap="square" rtlCol="0">
            <a:spAutoFit/>
          </a:bodyPr>
          <a:lstStyle/>
          <a:p>
            <a:pPr marL="285750" indent="-285750">
              <a:buFont typeface="Arial" panose="020B0604020202020204" pitchFamily="34" charset="0"/>
              <a:buChar char="•"/>
            </a:pPr>
            <a:r>
              <a:rPr lang="en-US" sz="1600" dirty="0"/>
              <a:t>New LV sales are highly correlated to economic growth and expectation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The share of electric vehicles is low (0.05%).</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The share of diesel vehicles has remained relatively constant despite the implementation of taxes on the purchase of this technology.</a:t>
            </a:r>
            <a:endParaRPr lang="es-CL" sz="1600" dirty="0"/>
          </a:p>
        </p:txBody>
      </p:sp>
      <p:sp>
        <p:nvSpPr>
          <p:cNvPr id="20" name="Cerrar llave 19">
            <a:extLst>
              <a:ext uri="{FF2B5EF4-FFF2-40B4-BE49-F238E27FC236}">
                <a16:creationId xmlns:a16="http://schemas.microsoft.com/office/drawing/2014/main" id="{4CA78A3C-0319-4831-8607-062186975FC1}"/>
              </a:ext>
            </a:extLst>
          </p:cNvPr>
          <p:cNvSpPr/>
          <p:nvPr/>
        </p:nvSpPr>
        <p:spPr>
          <a:xfrm>
            <a:off x="5144653" y="3064162"/>
            <a:ext cx="148865" cy="792000"/>
          </a:xfrm>
          <a:prstGeom prst="rightBrace">
            <a:avLst>
              <a:gd name="adj1" fmla="val 8333"/>
              <a:gd name="adj2" fmla="val 29555"/>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p>
        </p:txBody>
      </p:sp>
      <p:sp>
        <p:nvSpPr>
          <p:cNvPr id="21" name="CuadroTexto 20">
            <a:extLst>
              <a:ext uri="{FF2B5EF4-FFF2-40B4-BE49-F238E27FC236}">
                <a16:creationId xmlns:a16="http://schemas.microsoft.com/office/drawing/2014/main" id="{B8F194C9-3A7E-4AF1-A762-7EC16D338A29}"/>
              </a:ext>
            </a:extLst>
          </p:cNvPr>
          <p:cNvSpPr txBox="1"/>
          <p:nvPr/>
        </p:nvSpPr>
        <p:spPr>
          <a:xfrm>
            <a:off x="5314285" y="3126399"/>
            <a:ext cx="554960" cy="276999"/>
          </a:xfrm>
          <a:prstGeom prst="rect">
            <a:avLst/>
          </a:prstGeom>
          <a:noFill/>
        </p:spPr>
        <p:txBody>
          <a:bodyPr wrap="none" rtlCol="0">
            <a:spAutoFit/>
          </a:bodyPr>
          <a:lstStyle/>
          <a:p>
            <a:r>
              <a:rPr lang="es-ES" sz="1200" b="1"/>
              <a:t>-60%</a:t>
            </a:r>
            <a:endParaRPr lang="es-CL" b="1"/>
          </a:p>
        </p:txBody>
      </p:sp>
      <p:graphicFrame>
        <p:nvGraphicFramePr>
          <p:cNvPr id="22" name="Tabla 21">
            <a:extLst>
              <a:ext uri="{FF2B5EF4-FFF2-40B4-BE49-F238E27FC236}">
                <a16:creationId xmlns:a16="http://schemas.microsoft.com/office/drawing/2014/main" id="{5FCE006C-A2F1-4572-91CD-1D12C6976BC9}"/>
              </a:ext>
            </a:extLst>
          </p:cNvPr>
          <p:cNvGraphicFramePr>
            <a:graphicFrameLocks noGrp="1"/>
          </p:cNvGraphicFramePr>
          <p:nvPr>
            <p:extLst>
              <p:ext uri="{D42A27DB-BD31-4B8C-83A1-F6EECF244321}">
                <p14:modId xmlns:p14="http://schemas.microsoft.com/office/powerpoint/2010/main" val="3961132320"/>
              </p:ext>
            </p:extLst>
          </p:nvPr>
        </p:nvGraphicFramePr>
        <p:xfrm>
          <a:off x="6096000" y="4746626"/>
          <a:ext cx="6057900" cy="1143000"/>
        </p:xfrm>
        <a:graphic>
          <a:graphicData uri="http://schemas.openxmlformats.org/drawingml/2006/table">
            <a:tbl>
              <a:tblPr firstRow="1" firstCol="1" bandCol="1">
                <a:tableStyleId>{0E3FDE45-AF77-4B5C-9715-49D594BDF05E}</a:tableStyleId>
              </a:tblPr>
              <a:tblGrid>
                <a:gridCol w="1409700">
                  <a:extLst>
                    <a:ext uri="{9D8B030D-6E8A-4147-A177-3AD203B41FA5}">
                      <a16:colId xmlns:a16="http://schemas.microsoft.com/office/drawing/2014/main" val="1978328095"/>
                    </a:ext>
                  </a:extLst>
                </a:gridCol>
                <a:gridCol w="774700">
                  <a:extLst>
                    <a:ext uri="{9D8B030D-6E8A-4147-A177-3AD203B41FA5}">
                      <a16:colId xmlns:a16="http://schemas.microsoft.com/office/drawing/2014/main" val="2779627179"/>
                    </a:ext>
                  </a:extLst>
                </a:gridCol>
                <a:gridCol w="774700">
                  <a:extLst>
                    <a:ext uri="{9D8B030D-6E8A-4147-A177-3AD203B41FA5}">
                      <a16:colId xmlns:a16="http://schemas.microsoft.com/office/drawing/2014/main" val="3116863858"/>
                    </a:ext>
                  </a:extLst>
                </a:gridCol>
                <a:gridCol w="774700">
                  <a:extLst>
                    <a:ext uri="{9D8B030D-6E8A-4147-A177-3AD203B41FA5}">
                      <a16:colId xmlns:a16="http://schemas.microsoft.com/office/drawing/2014/main" val="2015412335"/>
                    </a:ext>
                  </a:extLst>
                </a:gridCol>
                <a:gridCol w="774700">
                  <a:extLst>
                    <a:ext uri="{9D8B030D-6E8A-4147-A177-3AD203B41FA5}">
                      <a16:colId xmlns:a16="http://schemas.microsoft.com/office/drawing/2014/main" val="2904943709"/>
                    </a:ext>
                  </a:extLst>
                </a:gridCol>
                <a:gridCol w="774700">
                  <a:extLst>
                    <a:ext uri="{9D8B030D-6E8A-4147-A177-3AD203B41FA5}">
                      <a16:colId xmlns:a16="http://schemas.microsoft.com/office/drawing/2014/main" val="3217278503"/>
                    </a:ext>
                  </a:extLst>
                </a:gridCol>
                <a:gridCol w="774700">
                  <a:extLst>
                    <a:ext uri="{9D8B030D-6E8A-4147-A177-3AD203B41FA5}">
                      <a16:colId xmlns:a16="http://schemas.microsoft.com/office/drawing/2014/main" val="2928067818"/>
                    </a:ext>
                  </a:extLst>
                </a:gridCol>
              </a:tblGrid>
              <a:tr h="190500">
                <a:tc>
                  <a:txBody>
                    <a:bodyPr/>
                    <a:lstStyle/>
                    <a:p>
                      <a:pPr algn="l" fontAlgn="b"/>
                      <a:r>
                        <a:rPr lang="es-CL" sz="1100" u="none" strike="noStrike">
                          <a:effectLst/>
                        </a:rPr>
                        <a:t> </a:t>
                      </a:r>
                      <a:endParaRPr lang="es-CL"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rPr>
                        <a:t>2015</a:t>
                      </a:r>
                      <a:endParaRPr lang="es-CL"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rPr>
                        <a:t>2016</a:t>
                      </a:r>
                      <a:endParaRPr lang="es-CL"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rPr>
                        <a:t>2017</a:t>
                      </a:r>
                      <a:endParaRPr lang="es-CL"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rPr>
                        <a:t>2018</a:t>
                      </a:r>
                      <a:endParaRPr lang="es-CL"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rPr>
                        <a:t>2019</a:t>
                      </a:r>
                      <a:endParaRPr lang="es-CL"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rPr>
                        <a:t>2020</a:t>
                      </a:r>
                      <a:endParaRPr lang="es-CL"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80757446"/>
                  </a:ext>
                </a:extLst>
              </a:tr>
              <a:tr h="190500">
                <a:tc>
                  <a:txBody>
                    <a:bodyPr/>
                    <a:lstStyle/>
                    <a:p>
                      <a:pPr algn="ctr" fontAlgn="b"/>
                      <a:r>
                        <a:rPr lang="es-CL" sz="1100" u="none" strike="noStrike" dirty="0" err="1">
                          <a:effectLst/>
                        </a:rPr>
                        <a:t>Petrol</a:t>
                      </a:r>
                      <a:endParaRPr lang="es-CL"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latin typeface="+mj-lt"/>
                        </a:rPr>
                        <a:t>87,5%</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85,6%</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85,4%</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86,9%</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88,2%</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88,4%</a:t>
                      </a:r>
                      <a:endParaRPr lang="es-CL" sz="1100" b="1" i="0" u="none" strike="noStrike">
                        <a:solidFill>
                          <a:srgbClr val="000000"/>
                        </a:solidFill>
                        <a:effectLst/>
                        <a:latin typeface="+mj-lt"/>
                      </a:endParaRPr>
                    </a:p>
                  </a:txBody>
                  <a:tcPr marL="9525" marR="9525" marT="9525" marB="0" anchor="b"/>
                </a:tc>
                <a:extLst>
                  <a:ext uri="{0D108BD9-81ED-4DB2-BD59-A6C34878D82A}">
                    <a16:rowId xmlns:a16="http://schemas.microsoft.com/office/drawing/2014/main" val="3570611571"/>
                  </a:ext>
                </a:extLst>
              </a:tr>
              <a:tr h="190500">
                <a:tc>
                  <a:txBody>
                    <a:bodyPr/>
                    <a:lstStyle/>
                    <a:p>
                      <a:pPr algn="ctr" fontAlgn="b"/>
                      <a:r>
                        <a:rPr lang="es-CL" sz="1100" u="none" strike="noStrike" dirty="0">
                          <a:effectLst/>
                        </a:rPr>
                        <a:t>Diesel</a:t>
                      </a:r>
                      <a:endParaRPr lang="es-CL"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latin typeface="+mj-lt"/>
                        </a:rPr>
                        <a:t>12,4%</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14,3%</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14,4%</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12,8%</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11,4%</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11,2%</a:t>
                      </a:r>
                      <a:endParaRPr lang="es-CL" sz="1100" b="1" i="0" u="none" strike="noStrike">
                        <a:solidFill>
                          <a:srgbClr val="000000"/>
                        </a:solidFill>
                        <a:effectLst/>
                        <a:latin typeface="+mj-lt"/>
                      </a:endParaRPr>
                    </a:p>
                  </a:txBody>
                  <a:tcPr marL="9525" marR="9525" marT="9525" marB="0" anchor="b"/>
                </a:tc>
                <a:extLst>
                  <a:ext uri="{0D108BD9-81ED-4DB2-BD59-A6C34878D82A}">
                    <a16:rowId xmlns:a16="http://schemas.microsoft.com/office/drawing/2014/main" val="4170985979"/>
                  </a:ext>
                </a:extLst>
              </a:tr>
              <a:tr h="190500">
                <a:tc>
                  <a:txBody>
                    <a:bodyPr/>
                    <a:lstStyle/>
                    <a:p>
                      <a:pPr algn="ctr" fontAlgn="b"/>
                      <a:r>
                        <a:rPr lang="es-CL" sz="1100" u="none" strike="noStrike" dirty="0" err="1">
                          <a:effectLst/>
                        </a:rPr>
                        <a:t>Hybrids</a:t>
                      </a:r>
                      <a:endParaRPr lang="es-CL"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latin typeface="+mj-lt"/>
                        </a:rPr>
                        <a:t>0,09%</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06%</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14%</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27%</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32%</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38%</a:t>
                      </a:r>
                      <a:endParaRPr lang="es-CL" sz="1100" b="1" i="0" u="none" strike="noStrike">
                        <a:solidFill>
                          <a:srgbClr val="000000"/>
                        </a:solidFill>
                        <a:effectLst/>
                        <a:latin typeface="+mj-lt"/>
                      </a:endParaRPr>
                    </a:p>
                  </a:txBody>
                  <a:tcPr marL="9525" marR="9525" marT="9525" marB="0" anchor="b"/>
                </a:tc>
                <a:extLst>
                  <a:ext uri="{0D108BD9-81ED-4DB2-BD59-A6C34878D82A}">
                    <a16:rowId xmlns:a16="http://schemas.microsoft.com/office/drawing/2014/main" val="915630694"/>
                  </a:ext>
                </a:extLst>
              </a:tr>
              <a:tr h="190500">
                <a:tc>
                  <a:txBody>
                    <a:bodyPr/>
                    <a:lstStyle/>
                    <a:p>
                      <a:pPr algn="ctr" fontAlgn="b"/>
                      <a:r>
                        <a:rPr lang="es-CL" sz="1100" u="none" strike="noStrike" dirty="0" err="1">
                          <a:effectLst/>
                        </a:rPr>
                        <a:t>EVs</a:t>
                      </a:r>
                      <a:endParaRPr lang="es-CL"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latin typeface="+mj-lt"/>
                        </a:rPr>
                        <a:t>0,00%</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01%</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05%</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04%</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08%</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05%</a:t>
                      </a:r>
                      <a:endParaRPr lang="es-CL" sz="1100" b="1" i="0" u="none" strike="noStrike">
                        <a:solidFill>
                          <a:srgbClr val="000000"/>
                        </a:solidFill>
                        <a:effectLst/>
                        <a:latin typeface="+mj-lt"/>
                      </a:endParaRPr>
                    </a:p>
                  </a:txBody>
                  <a:tcPr marL="9525" marR="9525" marT="9525" marB="0" anchor="b"/>
                </a:tc>
                <a:extLst>
                  <a:ext uri="{0D108BD9-81ED-4DB2-BD59-A6C34878D82A}">
                    <a16:rowId xmlns:a16="http://schemas.microsoft.com/office/drawing/2014/main" val="4095273644"/>
                  </a:ext>
                </a:extLst>
              </a:tr>
              <a:tr h="190500">
                <a:tc>
                  <a:txBody>
                    <a:bodyPr/>
                    <a:lstStyle/>
                    <a:p>
                      <a:pPr algn="ctr" fontAlgn="b"/>
                      <a:r>
                        <a:rPr lang="es-CL" sz="1100" u="none" strike="noStrike" dirty="0">
                          <a:effectLst/>
                        </a:rPr>
                        <a:t>Gas/GLP</a:t>
                      </a:r>
                      <a:endParaRPr lang="es-CL"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s-CL" sz="1100" u="none" strike="noStrike">
                          <a:effectLst/>
                          <a:latin typeface="+mj-lt"/>
                        </a:rPr>
                        <a:t>0,00%</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00%</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00%</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00%</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a:effectLst/>
                          <a:latin typeface="+mj-lt"/>
                        </a:rPr>
                        <a:t>0,00%</a:t>
                      </a:r>
                      <a:endParaRPr lang="es-CL" sz="1100" b="1" i="0" u="none" strike="noStrike">
                        <a:solidFill>
                          <a:srgbClr val="000000"/>
                        </a:solidFill>
                        <a:effectLst/>
                        <a:latin typeface="+mj-lt"/>
                      </a:endParaRPr>
                    </a:p>
                  </a:txBody>
                  <a:tcPr marL="9525" marR="9525" marT="9525" marB="0" anchor="b"/>
                </a:tc>
                <a:tc>
                  <a:txBody>
                    <a:bodyPr/>
                    <a:lstStyle/>
                    <a:p>
                      <a:pPr algn="ctr" fontAlgn="b"/>
                      <a:r>
                        <a:rPr lang="es-CL" sz="1100" u="none" strike="noStrike" dirty="0">
                          <a:effectLst/>
                          <a:latin typeface="+mj-lt"/>
                        </a:rPr>
                        <a:t>0,03%</a:t>
                      </a:r>
                      <a:endParaRPr lang="es-CL" sz="1100" b="1" i="0" u="none" strike="noStrike" dirty="0">
                        <a:solidFill>
                          <a:srgbClr val="000000"/>
                        </a:solidFill>
                        <a:effectLst/>
                        <a:latin typeface="+mj-lt"/>
                      </a:endParaRPr>
                    </a:p>
                  </a:txBody>
                  <a:tcPr marL="9525" marR="9525" marT="9525" marB="0" anchor="b"/>
                </a:tc>
                <a:extLst>
                  <a:ext uri="{0D108BD9-81ED-4DB2-BD59-A6C34878D82A}">
                    <a16:rowId xmlns:a16="http://schemas.microsoft.com/office/drawing/2014/main" val="3072839718"/>
                  </a:ext>
                </a:extLst>
              </a:tr>
            </a:tbl>
          </a:graphicData>
        </a:graphic>
      </p:graphicFrame>
    </p:spTree>
    <p:extLst>
      <p:ext uri="{BB962C8B-B14F-4D97-AF65-F5344CB8AC3E}">
        <p14:creationId xmlns:p14="http://schemas.microsoft.com/office/powerpoint/2010/main" val="37654257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B20885BC-F2C6-42D4-9510-707F8E3CB048}"/>
              </a:ext>
            </a:extLst>
          </p:cNvPr>
          <p:cNvSpPr>
            <a:spLocks noGrp="1"/>
          </p:cNvSpPr>
          <p:nvPr>
            <p:ph type="title"/>
          </p:nvPr>
        </p:nvSpPr>
        <p:spPr/>
        <p:txBody>
          <a:bodyPr/>
          <a:lstStyle/>
          <a:p>
            <a:r>
              <a:rPr lang="es-ES" dirty="0"/>
              <a:t>Light </a:t>
            </a:r>
            <a:r>
              <a:rPr lang="es-ES" dirty="0" err="1"/>
              <a:t>duty</a:t>
            </a:r>
            <a:r>
              <a:rPr lang="es-ES" dirty="0"/>
              <a:t> </a:t>
            </a:r>
            <a:r>
              <a:rPr lang="es-ES" dirty="0" err="1"/>
              <a:t>vehicles</a:t>
            </a:r>
            <a:r>
              <a:rPr lang="es-ES" dirty="0"/>
              <a:t> in Chile</a:t>
            </a:r>
            <a:endParaRPr lang="es-CL" dirty="0"/>
          </a:p>
        </p:txBody>
      </p:sp>
      <p:sp>
        <p:nvSpPr>
          <p:cNvPr id="3" name="Marcador de pie de página 2">
            <a:extLst>
              <a:ext uri="{FF2B5EF4-FFF2-40B4-BE49-F238E27FC236}">
                <a16:creationId xmlns:a16="http://schemas.microsoft.com/office/drawing/2014/main" id="{DB73ACF4-1F03-4BC0-8391-98694A3DF9ED}"/>
              </a:ext>
            </a:extLst>
          </p:cNvPr>
          <p:cNvSpPr>
            <a:spLocks noGrp="1"/>
          </p:cNvSpPr>
          <p:nvPr>
            <p:ph type="ftr" sz="quarter" idx="11"/>
          </p:nvPr>
        </p:nvSpPr>
        <p:spPr>
          <a:xfrm>
            <a:off x="5975927" y="6561138"/>
            <a:ext cx="5362505" cy="303426"/>
          </a:xfrm>
        </p:spPr>
        <p:txBody>
          <a:bodyPr/>
          <a:lstStyle/>
          <a:p>
            <a:endParaRPr lang="es-CL"/>
          </a:p>
        </p:txBody>
      </p:sp>
      <p:sp>
        <p:nvSpPr>
          <p:cNvPr id="4" name="Marcador de número de diapositiva 3">
            <a:extLst>
              <a:ext uri="{FF2B5EF4-FFF2-40B4-BE49-F238E27FC236}">
                <a16:creationId xmlns:a16="http://schemas.microsoft.com/office/drawing/2014/main" id="{DA21110C-AC76-4CA5-9E46-CC78D1F52B29}"/>
              </a:ext>
            </a:extLst>
          </p:cNvPr>
          <p:cNvSpPr>
            <a:spLocks noGrp="1"/>
          </p:cNvSpPr>
          <p:nvPr>
            <p:ph type="sldNum" sz="quarter" idx="12"/>
          </p:nvPr>
        </p:nvSpPr>
        <p:spPr/>
        <p:txBody>
          <a:bodyPr/>
          <a:lstStyle/>
          <a:p>
            <a:r>
              <a:rPr lang="es-CL"/>
              <a:t>|   </a:t>
            </a:r>
            <a:fld id="{785CD681-51D3-414E-83F2-54688883A8C2}" type="slidenum">
              <a:rPr lang="es-CL" smtClean="0"/>
              <a:pPr/>
              <a:t>15</a:t>
            </a:fld>
            <a:endParaRPr lang="es-CL"/>
          </a:p>
        </p:txBody>
      </p:sp>
      <p:sp>
        <p:nvSpPr>
          <p:cNvPr id="7" name="Marcador de texto 6">
            <a:extLst>
              <a:ext uri="{FF2B5EF4-FFF2-40B4-BE49-F238E27FC236}">
                <a16:creationId xmlns:a16="http://schemas.microsoft.com/office/drawing/2014/main" id="{E0ABE1AE-2E3F-442C-96EC-59DAD90BDF3B}"/>
              </a:ext>
            </a:extLst>
          </p:cNvPr>
          <p:cNvSpPr>
            <a:spLocks noGrp="1"/>
          </p:cNvSpPr>
          <p:nvPr>
            <p:ph type="body" sz="quarter" idx="13"/>
          </p:nvPr>
        </p:nvSpPr>
        <p:spPr/>
        <p:txBody>
          <a:bodyPr/>
          <a:lstStyle/>
          <a:p>
            <a:r>
              <a:rPr lang="es-ES"/>
              <a:t>Vehicle energy consumption</a:t>
            </a:r>
            <a:endParaRPr lang="es-CL" dirty="0"/>
          </a:p>
        </p:txBody>
      </p:sp>
      <p:graphicFrame>
        <p:nvGraphicFramePr>
          <p:cNvPr id="9" name="Gráfico 8">
            <a:extLst>
              <a:ext uri="{FF2B5EF4-FFF2-40B4-BE49-F238E27FC236}">
                <a16:creationId xmlns:a16="http://schemas.microsoft.com/office/drawing/2014/main" id="{36573CE5-4769-4B8B-BF81-07856CEE9915}"/>
              </a:ext>
            </a:extLst>
          </p:cNvPr>
          <p:cNvGraphicFramePr>
            <a:graphicFrameLocks/>
          </p:cNvGraphicFramePr>
          <p:nvPr/>
        </p:nvGraphicFramePr>
        <p:xfrm>
          <a:off x="4091709" y="1597891"/>
          <a:ext cx="7961745" cy="4294909"/>
        </p:xfrm>
        <a:graphic>
          <a:graphicData uri="http://schemas.openxmlformats.org/drawingml/2006/chart">
            <c:chart xmlns:c="http://schemas.openxmlformats.org/drawingml/2006/chart" xmlns:r="http://schemas.openxmlformats.org/officeDocument/2006/relationships" r:id="rId2"/>
          </a:graphicData>
        </a:graphic>
      </p:graphicFrame>
      <p:sp>
        <p:nvSpPr>
          <p:cNvPr id="10" name="CuadroTexto 9">
            <a:extLst>
              <a:ext uri="{FF2B5EF4-FFF2-40B4-BE49-F238E27FC236}">
                <a16:creationId xmlns:a16="http://schemas.microsoft.com/office/drawing/2014/main" id="{045F578B-C512-470B-A0D6-B30812F56217}"/>
              </a:ext>
            </a:extLst>
          </p:cNvPr>
          <p:cNvSpPr txBox="1"/>
          <p:nvPr/>
        </p:nvSpPr>
        <p:spPr>
          <a:xfrm>
            <a:off x="234851" y="2527244"/>
            <a:ext cx="3939985" cy="738664"/>
          </a:xfrm>
          <a:prstGeom prst="rect">
            <a:avLst/>
          </a:prstGeom>
          <a:noFill/>
        </p:spPr>
        <p:txBody>
          <a:bodyPr wrap="square">
            <a:spAutoFit/>
          </a:bodyPr>
          <a:lstStyle/>
          <a:p>
            <a:pPr marL="285750" indent="-285750">
              <a:buFont typeface="Arial" panose="020B0604020202020204" pitchFamily="34" charset="0"/>
              <a:buChar char="•"/>
            </a:pPr>
            <a:r>
              <a:rPr lang="en-US" sz="1400" dirty="0"/>
              <a:t>In the absence of related policies, a natural rate of energy efficiency equal to 0.032 km/</a:t>
            </a:r>
            <a:r>
              <a:rPr lang="en-US" sz="1400" dirty="0" err="1"/>
              <a:t>lge</a:t>
            </a:r>
            <a:r>
              <a:rPr lang="en-US" sz="1400" dirty="0"/>
              <a:t> per year is observed.</a:t>
            </a:r>
          </a:p>
        </p:txBody>
      </p:sp>
      <p:sp>
        <p:nvSpPr>
          <p:cNvPr id="11" name="CuadroTexto 10">
            <a:extLst>
              <a:ext uri="{FF2B5EF4-FFF2-40B4-BE49-F238E27FC236}">
                <a16:creationId xmlns:a16="http://schemas.microsoft.com/office/drawing/2014/main" id="{6F8B47DC-BD27-4A11-9359-5038CA9D9BFA}"/>
              </a:ext>
            </a:extLst>
          </p:cNvPr>
          <p:cNvSpPr txBox="1"/>
          <p:nvPr/>
        </p:nvSpPr>
        <p:spPr>
          <a:xfrm>
            <a:off x="227286" y="3686685"/>
            <a:ext cx="3939985" cy="1384995"/>
          </a:xfrm>
          <a:prstGeom prst="rect">
            <a:avLst/>
          </a:prstGeom>
          <a:noFill/>
        </p:spPr>
        <p:txBody>
          <a:bodyPr wrap="square">
            <a:spAutoFit/>
          </a:bodyPr>
          <a:lstStyle/>
          <a:p>
            <a:pPr marL="285750" indent="-285750" algn="just">
              <a:buFont typeface="Arial" panose="020B0604020202020204" pitchFamily="34" charset="0"/>
              <a:buChar char="•"/>
            </a:pPr>
            <a:r>
              <a:rPr lang="en-US" sz="1400" dirty="0"/>
              <a:t>This improvement (although very limited) is explained by the importation of more efficient vehicles, given that the size and technological composition of the fleet has remained relatively constant.</a:t>
            </a:r>
            <a:endParaRPr lang="es-CL" sz="1400" dirty="0"/>
          </a:p>
        </p:txBody>
      </p:sp>
    </p:spTree>
    <p:extLst>
      <p:ext uri="{BB962C8B-B14F-4D97-AF65-F5344CB8AC3E}">
        <p14:creationId xmlns:p14="http://schemas.microsoft.com/office/powerpoint/2010/main" val="1946042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686D5CB-4E95-4A04-8ADE-A98C9772AC9C}"/>
              </a:ext>
            </a:extLst>
          </p:cNvPr>
          <p:cNvSpPr>
            <a:spLocks noGrp="1"/>
          </p:cNvSpPr>
          <p:nvPr>
            <p:ph type="title"/>
          </p:nvPr>
        </p:nvSpPr>
        <p:spPr/>
        <p:txBody>
          <a:bodyPr/>
          <a:lstStyle/>
          <a:p>
            <a:r>
              <a:rPr lang="es-ES" dirty="0" err="1"/>
              <a:t>Assessed</a:t>
            </a:r>
            <a:r>
              <a:rPr lang="es-ES" dirty="0"/>
              <a:t> </a:t>
            </a:r>
            <a:r>
              <a:rPr lang="es-ES" dirty="0" err="1"/>
              <a:t>scenarios</a:t>
            </a:r>
            <a:endParaRPr lang="es-CL" dirty="0"/>
          </a:p>
        </p:txBody>
      </p:sp>
      <p:sp>
        <p:nvSpPr>
          <p:cNvPr id="4" name="Marcador de texto 3">
            <a:extLst>
              <a:ext uri="{FF2B5EF4-FFF2-40B4-BE49-F238E27FC236}">
                <a16:creationId xmlns:a16="http://schemas.microsoft.com/office/drawing/2014/main" id="{0EF27F2A-E904-4C49-A6AC-7D57FEDA2AE2}"/>
              </a:ext>
            </a:extLst>
          </p:cNvPr>
          <p:cNvSpPr>
            <a:spLocks noGrp="1"/>
          </p:cNvSpPr>
          <p:nvPr>
            <p:ph type="body" sz="quarter" idx="13"/>
          </p:nvPr>
        </p:nvSpPr>
        <p:spPr/>
        <p:txBody>
          <a:bodyPr/>
          <a:lstStyle/>
          <a:p>
            <a:r>
              <a:rPr lang="es-ES" dirty="0"/>
              <a:t>And </a:t>
            </a:r>
            <a:r>
              <a:rPr lang="es-ES" dirty="0" err="1"/>
              <a:t>other</a:t>
            </a:r>
            <a:r>
              <a:rPr lang="es-ES" dirty="0"/>
              <a:t> </a:t>
            </a:r>
            <a:r>
              <a:rPr lang="es-ES" dirty="0" err="1"/>
              <a:t>reference</a:t>
            </a:r>
            <a:r>
              <a:rPr lang="es-ES" dirty="0"/>
              <a:t> cases</a:t>
            </a:r>
            <a:endParaRPr lang="es-CL" dirty="0"/>
          </a:p>
        </p:txBody>
      </p:sp>
      <p:sp>
        <p:nvSpPr>
          <p:cNvPr id="10" name="Marcador de pie de página 1">
            <a:extLst>
              <a:ext uri="{FF2B5EF4-FFF2-40B4-BE49-F238E27FC236}">
                <a16:creationId xmlns:a16="http://schemas.microsoft.com/office/drawing/2014/main" id="{FE63EAD7-731F-3443-8C96-F3F325505224}"/>
              </a:ext>
            </a:extLst>
          </p:cNvPr>
          <p:cNvSpPr>
            <a:spLocks noGrp="1"/>
          </p:cNvSpPr>
          <p:nvPr>
            <p:ph type="ftr" sz="quarter" idx="11"/>
          </p:nvPr>
        </p:nvSpPr>
        <p:spPr>
          <a:xfrm>
            <a:off x="6234545" y="6561138"/>
            <a:ext cx="5103887" cy="303426"/>
          </a:xfrm>
        </p:spPr>
        <p:txBody>
          <a:bodyPr/>
          <a:lstStyle/>
          <a:p>
            <a:endParaRPr lang="es-CL"/>
          </a:p>
        </p:txBody>
      </p:sp>
      <p:sp>
        <p:nvSpPr>
          <p:cNvPr id="11" name="Marcador de número de diapositiva 2">
            <a:extLst>
              <a:ext uri="{FF2B5EF4-FFF2-40B4-BE49-F238E27FC236}">
                <a16:creationId xmlns:a16="http://schemas.microsoft.com/office/drawing/2014/main" id="{4896E372-4CE6-C74E-9F62-4E9F29A2E4C6}"/>
              </a:ext>
            </a:extLst>
          </p:cNvPr>
          <p:cNvSpPr>
            <a:spLocks noGrp="1"/>
          </p:cNvSpPr>
          <p:nvPr>
            <p:ph type="sldNum" sz="quarter" idx="12"/>
          </p:nvPr>
        </p:nvSpPr>
        <p:spPr>
          <a:xfrm>
            <a:off x="11134725" y="6554574"/>
            <a:ext cx="722313" cy="303426"/>
          </a:xfrm>
        </p:spPr>
        <p:txBody>
          <a:bodyPr/>
          <a:lstStyle/>
          <a:p>
            <a:r>
              <a:rPr lang="es-CL"/>
              <a:t>|   </a:t>
            </a:r>
            <a:fld id="{F7CF804F-B255-4CD1-A24B-0CA4B4B725D6}" type="slidenum">
              <a:rPr lang="es-CL" smtClean="0"/>
              <a:pPr/>
              <a:t>16</a:t>
            </a:fld>
            <a:endParaRPr lang="es-CL"/>
          </a:p>
        </p:txBody>
      </p:sp>
      <p:graphicFrame>
        <p:nvGraphicFramePr>
          <p:cNvPr id="13" name="Gráfico 12">
            <a:extLst>
              <a:ext uri="{FF2B5EF4-FFF2-40B4-BE49-F238E27FC236}">
                <a16:creationId xmlns:a16="http://schemas.microsoft.com/office/drawing/2014/main" id="{3CA6DA96-D09B-4E96-8780-A7742FA84EDF}"/>
              </a:ext>
            </a:extLst>
          </p:cNvPr>
          <p:cNvGraphicFramePr>
            <a:graphicFrameLocks/>
          </p:cNvGraphicFramePr>
          <p:nvPr/>
        </p:nvGraphicFramePr>
        <p:xfrm>
          <a:off x="96253" y="1507709"/>
          <a:ext cx="7161195" cy="4764505"/>
        </p:xfrm>
        <a:graphic>
          <a:graphicData uri="http://schemas.openxmlformats.org/drawingml/2006/chart">
            <c:chart xmlns:c="http://schemas.openxmlformats.org/drawingml/2006/chart" xmlns:r="http://schemas.openxmlformats.org/officeDocument/2006/relationships" r:id="rId2"/>
          </a:graphicData>
        </a:graphic>
      </p:graphicFrame>
      <p:sp>
        <p:nvSpPr>
          <p:cNvPr id="15" name="CuadroTexto 14">
            <a:extLst>
              <a:ext uri="{FF2B5EF4-FFF2-40B4-BE49-F238E27FC236}">
                <a16:creationId xmlns:a16="http://schemas.microsoft.com/office/drawing/2014/main" id="{55A7EF53-BD7F-469E-8D67-2E8D33384815}"/>
              </a:ext>
            </a:extLst>
          </p:cNvPr>
          <p:cNvSpPr txBox="1"/>
          <p:nvPr/>
        </p:nvSpPr>
        <p:spPr>
          <a:xfrm>
            <a:off x="7093819" y="2274838"/>
            <a:ext cx="4763219" cy="2554545"/>
          </a:xfrm>
          <a:prstGeom prst="rect">
            <a:avLst/>
          </a:prstGeom>
          <a:noFill/>
        </p:spPr>
        <p:txBody>
          <a:bodyPr wrap="square" rtlCol="0">
            <a:spAutoFit/>
          </a:bodyPr>
          <a:lstStyle/>
          <a:p>
            <a:pPr marL="285750" indent="-285750" algn="just">
              <a:buFont typeface="Arial" panose="020B0604020202020204" pitchFamily="34" charset="0"/>
              <a:buChar char="•"/>
            </a:pPr>
            <a:r>
              <a:rPr lang="en-US" sz="1600" dirty="0"/>
              <a:t>Three possible scenarios with three points each: 2024, 2027 and 2030.</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a:t>These points represent the average returns, weighted by the sales of each respective year.</a:t>
            </a:r>
          </a:p>
          <a:p>
            <a:pPr algn="just"/>
            <a:endParaRPr lang="en-US" sz="1600" dirty="0"/>
          </a:p>
          <a:p>
            <a:pPr marL="285750" indent="-285750" algn="just">
              <a:buFont typeface="Arial" panose="020B0604020202020204" pitchFamily="34" charset="0"/>
              <a:buChar char="•"/>
            </a:pPr>
            <a:r>
              <a:rPr lang="en-US" sz="1600" dirty="0"/>
              <a:t>Average scenario, constructed on the basis of 8-, 6- and 4-year lags with respect to Europe.</a:t>
            </a:r>
            <a:endParaRPr lang="es-CL" sz="1600" dirty="0"/>
          </a:p>
        </p:txBody>
      </p:sp>
    </p:spTree>
    <p:extLst>
      <p:ext uri="{BB962C8B-B14F-4D97-AF65-F5344CB8AC3E}">
        <p14:creationId xmlns:p14="http://schemas.microsoft.com/office/powerpoint/2010/main" val="378541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graphicEl>
                                              <a:chart seriesIdx="1" categoryIdx="-4" bldStep="series"/>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graphicEl>
                                              <a:chart seriesIdx="2" categoryIdx="-4" bldStep="series"/>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graphicEl>
                                              <a:chart seriesIdx="3" categoryIdx="-4" bldStep="series"/>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graphicEl>
                                              <a:chart seriesIdx="4" categoryIdx="-4" bldStep="series"/>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graphicEl>
                                              <a:chart seriesIdx="5" categoryIdx="-4" bldStep="series"/>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graphicEl>
                                              <a:chart seriesIdx="6" categoryIdx="-4" bldStep="series"/>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3">
                                            <p:graphicEl>
                                              <a:chart seriesIdx="7"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Sub>
          <a:bldChart bld="series"/>
        </p:bldSub>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B6DDAE1-3B1F-1043-A462-C63C25CFACFD}"/>
              </a:ext>
            </a:extLst>
          </p:cNvPr>
          <p:cNvSpPr>
            <a:spLocks noGrp="1"/>
          </p:cNvSpPr>
          <p:nvPr>
            <p:ph type="title"/>
          </p:nvPr>
        </p:nvSpPr>
        <p:spPr/>
        <p:txBody>
          <a:bodyPr/>
          <a:lstStyle/>
          <a:p>
            <a:r>
              <a:rPr lang="es-CL"/>
              <a:t>Regulatory Process</a:t>
            </a:r>
            <a:endParaRPr lang="es-CL" dirty="0"/>
          </a:p>
        </p:txBody>
      </p:sp>
      <p:sp>
        <p:nvSpPr>
          <p:cNvPr id="3" name="Marcador de pie de página 2">
            <a:extLst>
              <a:ext uri="{FF2B5EF4-FFF2-40B4-BE49-F238E27FC236}">
                <a16:creationId xmlns:a16="http://schemas.microsoft.com/office/drawing/2014/main" id="{288BC928-FBF5-6C49-92D8-5F029D39992D}"/>
              </a:ext>
            </a:extLst>
          </p:cNvPr>
          <p:cNvSpPr>
            <a:spLocks noGrp="1"/>
          </p:cNvSpPr>
          <p:nvPr>
            <p:ph type="ftr" sz="quarter" idx="11"/>
          </p:nvPr>
        </p:nvSpPr>
        <p:spPr>
          <a:xfrm>
            <a:off x="6233522" y="6561138"/>
            <a:ext cx="5104910" cy="303426"/>
          </a:xfrm>
        </p:spPr>
        <p:txBody>
          <a:bodyPr/>
          <a:lstStyle/>
          <a:p>
            <a:endParaRPr lang="es-CL"/>
          </a:p>
        </p:txBody>
      </p:sp>
      <p:sp>
        <p:nvSpPr>
          <p:cNvPr id="4" name="Marcador de número de diapositiva 3">
            <a:extLst>
              <a:ext uri="{FF2B5EF4-FFF2-40B4-BE49-F238E27FC236}">
                <a16:creationId xmlns:a16="http://schemas.microsoft.com/office/drawing/2014/main" id="{EBCF417E-302F-6646-9CFA-41665AFF1F35}"/>
              </a:ext>
            </a:extLst>
          </p:cNvPr>
          <p:cNvSpPr>
            <a:spLocks noGrp="1"/>
          </p:cNvSpPr>
          <p:nvPr>
            <p:ph type="sldNum" sz="quarter" idx="12"/>
          </p:nvPr>
        </p:nvSpPr>
        <p:spPr/>
        <p:txBody>
          <a:bodyPr/>
          <a:lstStyle/>
          <a:p>
            <a:r>
              <a:rPr lang="es-CL"/>
              <a:t>|   </a:t>
            </a:r>
            <a:fld id="{785CD681-51D3-414E-83F2-54688883A8C2}" type="slidenum">
              <a:rPr lang="es-CL" smtClean="0"/>
              <a:pPr/>
              <a:t>17</a:t>
            </a:fld>
            <a:endParaRPr lang="es-CL"/>
          </a:p>
        </p:txBody>
      </p:sp>
      <p:sp>
        <p:nvSpPr>
          <p:cNvPr id="23" name="CuadroTexto 22">
            <a:extLst>
              <a:ext uri="{FF2B5EF4-FFF2-40B4-BE49-F238E27FC236}">
                <a16:creationId xmlns:a16="http://schemas.microsoft.com/office/drawing/2014/main" id="{47F93694-9A10-9448-A2FA-94B2C896535D}"/>
              </a:ext>
            </a:extLst>
          </p:cNvPr>
          <p:cNvSpPr txBox="1"/>
          <p:nvPr/>
        </p:nvSpPr>
        <p:spPr>
          <a:xfrm>
            <a:off x="494584" y="1590151"/>
            <a:ext cx="11341970" cy="307777"/>
          </a:xfrm>
          <a:prstGeom prst="rect">
            <a:avLst/>
          </a:prstGeom>
          <a:solidFill>
            <a:srgbClr val="001F60"/>
          </a:solidFill>
          <a:ln>
            <a:solidFill>
              <a:srgbClr val="001F60"/>
            </a:solidFill>
          </a:ln>
        </p:spPr>
        <p:txBody>
          <a:bodyPr wrap="square" rtlCol="0">
            <a:spAutoFit/>
          </a:bodyPr>
          <a:lstStyle/>
          <a:p>
            <a:pPr algn="ctr"/>
            <a:r>
              <a:rPr lang="es-CL" sz="1400" b="1">
                <a:solidFill>
                  <a:schemeClr val="bg1"/>
                </a:solidFill>
                <a:latin typeface="Century Gothic" panose="020B0502020202020204" pitchFamily="34" charset="0"/>
              </a:rPr>
              <a:t>PLANNING</a:t>
            </a:r>
          </a:p>
        </p:txBody>
      </p:sp>
      <p:sp>
        <p:nvSpPr>
          <p:cNvPr id="30" name="Pentágono 29">
            <a:extLst>
              <a:ext uri="{FF2B5EF4-FFF2-40B4-BE49-F238E27FC236}">
                <a16:creationId xmlns:a16="http://schemas.microsoft.com/office/drawing/2014/main" id="{1A3F835A-1C25-F64B-A47F-0A07ED7C8ABC}"/>
              </a:ext>
            </a:extLst>
          </p:cNvPr>
          <p:cNvSpPr/>
          <p:nvPr/>
        </p:nvSpPr>
        <p:spPr>
          <a:xfrm>
            <a:off x="558633" y="2273941"/>
            <a:ext cx="1791041" cy="925276"/>
          </a:xfrm>
          <a:prstGeom prst="homePlate">
            <a:avLst/>
          </a:prstGeom>
          <a:solidFill>
            <a:schemeClr val="bg1"/>
          </a:solidFill>
          <a:ln>
            <a:solidFill>
              <a:srgbClr val="255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200" b="1">
              <a:latin typeface="Poppins" pitchFamily="2" charset="77"/>
              <a:cs typeface="Poppins" pitchFamily="2" charset="77"/>
            </a:endParaRPr>
          </a:p>
        </p:txBody>
      </p:sp>
      <p:sp>
        <p:nvSpPr>
          <p:cNvPr id="38" name="CuadroTexto 37">
            <a:extLst>
              <a:ext uri="{FF2B5EF4-FFF2-40B4-BE49-F238E27FC236}">
                <a16:creationId xmlns:a16="http://schemas.microsoft.com/office/drawing/2014/main" id="{36B90CEE-61E8-8F46-BF22-648D3A9B1FD0}"/>
              </a:ext>
            </a:extLst>
          </p:cNvPr>
          <p:cNvSpPr txBox="1"/>
          <p:nvPr/>
        </p:nvSpPr>
        <p:spPr>
          <a:xfrm>
            <a:off x="553547" y="2487086"/>
            <a:ext cx="1747783" cy="400110"/>
          </a:xfrm>
          <a:prstGeom prst="rect">
            <a:avLst/>
          </a:prstGeom>
          <a:noFill/>
        </p:spPr>
        <p:txBody>
          <a:bodyPr wrap="square" rtlCol="0">
            <a:spAutoFit/>
          </a:bodyPr>
          <a:lstStyle/>
          <a:p>
            <a:r>
              <a:rPr lang="en-US" sz="1000" b="1">
                <a:solidFill>
                  <a:srgbClr val="001F60"/>
                </a:solidFill>
                <a:latin typeface="Century Gothic" panose="020B0502020202020204" pitchFamily="34" charset="0"/>
              </a:rPr>
              <a:t>Presentation and review of other ministries</a:t>
            </a:r>
            <a:endParaRPr lang="es-CL" sz="1000" b="1" dirty="0">
              <a:solidFill>
                <a:srgbClr val="001F60"/>
              </a:solidFill>
              <a:latin typeface="Century Gothic" panose="020B0502020202020204" pitchFamily="34" charset="0"/>
            </a:endParaRPr>
          </a:p>
        </p:txBody>
      </p:sp>
      <p:sp>
        <p:nvSpPr>
          <p:cNvPr id="58" name="CuadroTexto 57">
            <a:extLst>
              <a:ext uri="{FF2B5EF4-FFF2-40B4-BE49-F238E27FC236}">
                <a16:creationId xmlns:a16="http://schemas.microsoft.com/office/drawing/2014/main" id="{0094FB7B-BF5E-D24F-B4EB-80B94FC3BC11}"/>
              </a:ext>
            </a:extLst>
          </p:cNvPr>
          <p:cNvSpPr txBox="1"/>
          <p:nvPr/>
        </p:nvSpPr>
        <p:spPr>
          <a:xfrm>
            <a:off x="558633" y="2865948"/>
            <a:ext cx="2095054" cy="230832"/>
          </a:xfrm>
          <a:prstGeom prst="rect">
            <a:avLst/>
          </a:prstGeom>
          <a:noFill/>
        </p:spPr>
        <p:txBody>
          <a:bodyPr wrap="square">
            <a:spAutoFit/>
          </a:bodyPr>
          <a:lstStyle/>
          <a:p>
            <a:r>
              <a:rPr lang="es-MX" sz="900" dirty="0">
                <a:solidFill>
                  <a:schemeClr val="bg1">
                    <a:lumMod val="50000"/>
                  </a:schemeClr>
                </a:solidFill>
                <a:latin typeface="Century Gothic" panose="020B0502020202020204" pitchFamily="34" charset="0"/>
                <a:ea typeface="Calibri" panose="020F0502020204030204" pitchFamily="34" charset="0"/>
              </a:rPr>
              <a:t>MTT, MMA y MINREL</a:t>
            </a:r>
          </a:p>
        </p:txBody>
      </p:sp>
      <p:sp>
        <p:nvSpPr>
          <p:cNvPr id="80" name="Pentágono 79">
            <a:extLst>
              <a:ext uri="{FF2B5EF4-FFF2-40B4-BE49-F238E27FC236}">
                <a16:creationId xmlns:a16="http://schemas.microsoft.com/office/drawing/2014/main" id="{C0030A35-22FF-A34F-AA59-ED9D0411E59B}"/>
              </a:ext>
            </a:extLst>
          </p:cNvPr>
          <p:cNvSpPr/>
          <p:nvPr/>
        </p:nvSpPr>
        <p:spPr>
          <a:xfrm>
            <a:off x="2454052" y="2276790"/>
            <a:ext cx="1428206" cy="925276"/>
          </a:xfrm>
          <a:prstGeom prst="homePlate">
            <a:avLst/>
          </a:prstGeom>
          <a:solidFill>
            <a:schemeClr val="bg1"/>
          </a:solidFill>
          <a:ln>
            <a:solidFill>
              <a:srgbClr val="255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200" b="1">
              <a:latin typeface="Poppins" pitchFamily="2" charset="77"/>
              <a:cs typeface="Poppins" pitchFamily="2" charset="77"/>
            </a:endParaRPr>
          </a:p>
        </p:txBody>
      </p:sp>
      <p:sp>
        <p:nvSpPr>
          <p:cNvPr id="81" name="CuadroTexto 80">
            <a:extLst>
              <a:ext uri="{FF2B5EF4-FFF2-40B4-BE49-F238E27FC236}">
                <a16:creationId xmlns:a16="http://schemas.microsoft.com/office/drawing/2014/main" id="{38806874-EB90-AD44-8199-8BBDC21B9714}"/>
              </a:ext>
            </a:extLst>
          </p:cNvPr>
          <p:cNvSpPr txBox="1"/>
          <p:nvPr/>
        </p:nvSpPr>
        <p:spPr>
          <a:xfrm>
            <a:off x="2448966" y="2513136"/>
            <a:ext cx="1428206" cy="400110"/>
          </a:xfrm>
          <a:prstGeom prst="rect">
            <a:avLst/>
          </a:prstGeom>
          <a:noFill/>
        </p:spPr>
        <p:txBody>
          <a:bodyPr wrap="square" rtlCol="0">
            <a:spAutoFit/>
          </a:bodyPr>
          <a:lstStyle/>
          <a:p>
            <a:r>
              <a:rPr lang="es-CL" sz="1000" b="1">
                <a:solidFill>
                  <a:srgbClr val="001F60"/>
                </a:solidFill>
                <a:latin typeface="Century Gothic" panose="020B0502020202020204" pitchFamily="34" charset="0"/>
              </a:rPr>
              <a:t>Finalize Preliminary Technical Report</a:t>
            </a:r>
            <a:endParaRPr lang="es-CL" sz="1000" b="1" dirty="0">
              <a:solidFill>
                <a:srgbClr val="001F60"/>
              </a:solidFill>
              <a:latin typeface="Century Gothic" panose="020B0502020202020204" pitchFamily="34" charset="0"/>
            </a:endParaRPr>
          </a:p>
        </p:txBody>
      </p:sp>
      <p:sp>
        <p:nvSpPr>
          <p:cNvPr id="84" name="Pentágono 83">
            <a:extLst>
              <a:ext uri="{FF2B5EF4-FFF2-40B4-BE49-F238E27FC236}">
                <a16:creationId xmlns:a16="http://schemas.microsoft.com/office/drawing/2014/main" id="{09376A96-35B8-F74B-88CE-4BBFCD6C0470}"/>
              </a:ext>
            </a:extLst>
          </p:cNvPr>
          <p:cNvSpPr/>
          <p:nvPr/>
        </p:nvSpPr>
        <p:spPr>
          <a:xfrm>
            <a:off x="3930703" y="2273941"/>
            <a:ext cx="3441227" cy="925276"/>
          </a:xfrm>
          <a:prstGeom prst="homePlate">
            <a:avLst/>
          </a:prstGeom>
          <a:solidFill>
            <a:schemeClr val="bg1"/>
          </a:solidFill>
          <a:ln>
            <a:solidFill>
              <a:srgbClr val="255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200" b="1">
              <a:latin typeface="Poppins" pitchFamily="2" charset="77"/>
              <a:cs typeface="Poppins" pitchFamily="2" charset="77"/>
            </a:endParaRPr>
          </a:p>
        </p:txBody>
      </p:sp>
      <p:sp>
        <p:nvSpPr>
          <p:cNvPr id="85" name="CuadroTexto 84">
            <a:extLst>
              <a:ext uri="{FF2B5EF4-FFF2-40B4-BE49-F238E27FC236}">
                <a16:creationId xmlns:a16="http://schemas.microsoft.com/office/drawing/2014/main" id="{58717380-C50B-4844-818F-151E280DCC68}"/>
              </a:ext>
            </a:extLst>
          </p:cNvPr>
          <p:cNvSpPr txBox="1"/>
          <p:nvPr/>
        </p:nvSpPr>
        <p:spPr>
          <a:xfrm>
            <a:off x="4017401" y="2434249"/>
            <a:ext cx="2959748" cy="677108"/>
          </a:xfrm>
          <a:prstGeom prst="rect">
            <a:avLst/>
          </a:prstGeom>
          <a:noFill/>
        </p:spPr>
        <p:txBody>
          <a:bodyPr wrap="square" rtlCol="0">
            <a:spAutoFit/>
          </a:bodyPr>
          <a:lstStyle/>
          <a:p>
            <a:r>
              <a:rPr lang="en-US" sz="1000" b="1" dirty="0">
                <a:solidFill>
                  <a:srgbClr val="001F60"/>
                </a:solidFill>
                <a:latin typeface="Century Gothic" panose="020B0502020202020204" pitchFamily="34" charset="0"/>
              </a:rPr>
              <a:t>National and International Public Consultation
</a:t>
            </a:r>
            <a:r>
              <a:rPr lang="en-US" sz="900" dirty="0">
                <a:solidFill>
                  <a:schemeClr val="bg1">
                    <a:lumMod val="50000"/>
                  </a:schemeClr>
                </a:solidFill>
                <a:latin typeface="Century Gothic" panose="020B0502020202020204" pitchFamily="34" charset="0"/>
                <a:ea typeface="Calibri" panose="020F0502020204030204" pitchFamily="34" charset="0"/>
              </a:rPr>
              <a:t>(A presentation with actors from the sector will be made at the beginning)</a:t>
            </a:r>
            <a:endParaRPr lang="es-CL" sz="900" dirty="0">
              <a:solidFill>
                <a:schemeClr val="bg1">
                  <a:lumMod val="50000"/>
                </a:schemeClr>
              </a:solidFill>
              <a:latin typeface="Century Gothic" panose="020B0502020202020204" pitchFamily="34" charset="0"/>
              <a:ea typeface="Calibri" panose="020F0502020204030204" pitchFamily="34" charset="0"/>
            </a:endParaRPr>
          </a:p>
        </p:txBody>
      </p:sp>
      <p:sp>
        <p:nvSpPr>
          <p:cNvPr id="87" name="Pentágono 86">
            <a:extLst>
              <a:ext uri="{FF2B5EF4-FFF2-40B4-BE49-F238E27FC236}">
                <a16:creationId xmlns:a16="http://schemas.microsoft.com/office/drawing/2014/main" id="{A79B2CB6-1763-D549-B598-7551BFA2AAD4}"/>
              </a:ext>
            </a:extLst>
          </p:cNvPr>
          <p:cNvSpPr/>
          <p:nvPr/>
        </p:nvSpPr>
        <p:spPr>
          <a:xfrm>
            <a:off x="7420375" y="2278427"/>
            <a:ext cx="2470295" cy="925276"/>
          </a:xfrm>
          <a:prstGeom prst="homePlate">
            <a:avLst/>
          </a:prstGeom>
          <a:solidFill>
            <a:schemeClr val="bg1"/>
          </a:solidFill>
          <a:ln>
            <a:solidFill>
              <a:srgbClr val="255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200" b="1">
              <a:latin typeface="Poppins" pitchFamily="2" charset="77"/>
              <a:cs typeface="Poppins" pitchFamily="2" charset="77"/>
            </a:endParaRPr>
          </a:p>
        </p:txBody>
      </p:sp>
      <p:sp>
        <p:nvSpPr>
          <p:cNvPr id="88" name="CuadroTexto 87">
            <a:extLst>
              <a:ext uri="{FF2B5EF4-FFF2-40B4-BE49-F238E27FC236}">
                <a16:creationId xmlns:a16="http://schemas.microsoft.com/office/drawing/2014/main" id="{0B4DAB80-F2A3-EA4C-8812-48022E22EAEC}"/>
              </a:ext>
            </a:extLst>
          </p:cNvPr>
          <p:cNvSpPr txBox="1"/>
          <p:nvPr/>
        </p:nvSpPr>
        <p:spPr>
          <a:xfrm>
            <a:off x="7477646" y="2434249"/>
            <a:ext cx="2095054" cy="553998"/>
          </a:xfrm>
          <a:prstGeom prst="rect">
            <a:avLst/>
          </a:prstGeom>
          <a:noFill/>
        </p:spPr>
        <p:txBody>
          <a:bodyPr wrap="square" rtlCol="0">
            <a:spAutoFit/>
          </a:bodyPr>
          <a:lstStyle/>
          <a:p>
            <a:r>
              <a:rPr lang="en-US" sz="1000" b="1" dirty="0">
                <a:solidFill>
                  <a:srgbClr val="001F60"/>
                </a:solidFill>
                <a:latin typeface="Century Gothic" panose="020B0502020202020204" pitchFamily="34" charset="0"/>
              </a:rPr>
              <a:t>Preparation of Final Technical Report and Resolution of Light Standards</a:t>
            </a:r>
            <a:endParaRPr lang="es-CL" sz="1000" b="1" dirty="0">
              <a:solidFill>
                <a:srgbClr val="001F60"/>
              </a:solidFill>
              <a:latin typeface="Century Gothic" panose="020B0502020202020204" pitchFamily="34" charset="0"/>
            </a:endParaRPr>
          </a:p>
        </p:txBody>
      </p:sp>
      <p:sp>
        <p:nvSpPr>
          <p:cNvPr id="89" name="Pentágono 88">
            <a:extLst>
              <a:ext uri="{FF2B5EF4-FFF2-40B4-BE49-F238E27FC236}">
                <a16:creationId xmlns:a16="http://schemas.microsoft.com/office/drawing/2014/main" id="{B69B0B8A-A79F-D247-AB3D-1EA3808DFE8A}"/>
              </a:ext>
            </a:extLst>
          </p:cNvPr>
          <p:cNvSpPr/>
          <p:nvPr/>
        </p:nvSpPr>
        <p:spPr>
          <a:xfrm>
            <a:off x="605393" y="3484159"/>
            <a:ext cx="10945341" cy="631384"/>
          </a:xfrm>
          <a:prstGeom prst="homePlate">
            <a:avLst/>
          </a:prstGeom>
          <a:solidFill>
            <a:schemeClr val="bg1">
              <a:lumMod val="85000"/>
            </a:schemeClr>
          </a:solidFill>
          <a:ln>
            <a:solidFill>
              <a:srgbClr val="255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200" b="1">
              <a:latin typeface="Poppins" pitchFamily="2" charset="77"/>
              <a:cs typeface="Poppins" pitchFamily="2" charset="77"/>
            </a:endParaRPr>
          </a:p>
        </p:txBody>
      </p:sp>
      <p:sp>
        <p:nvSpPr>
          <p:cNvPr id="90" name="CuadroTexto 89">
            <a:extLst>
              <a:ext uri="{FF2B5EF4-FFF2-40B4-BE49-F238E27FC236}">
                <a16:creationId xmlns:a16="http://schemas.microsoft.com/office/drawing/2014/main" id="{7FABF850-6351-2C47-9D9F-8EEAB5050D8A}"/>
              </a:ext>
            </a:extLst>
          </p:cNvPr>
          <p:cNvSpPr txBox="1"/>
          <p:nvPr/>
        </p:nvSpPr>
        <p:spPr>
          <a:xfrm>
            <a:off x="4576200" y="3675342"/>
            <a:ext cx="3869227" cy="246221"/>
          </a:xfrm>
          <a:prstGeom prst="rect">
            <a:avLst/>
          </a:prstGeom>
          <a:noFill/>
        </p:spPr>
        <p:txBody>
          <a:bodyPr wrap="square" rtlCol="0">
            <a:spAutoFit/>
          </a:bodyPr>
          <a:lstStyle/>
          <a:p>
            <a:r>
              <a:rPr lang="es-CL" sz="1000" b="1">
                <a:solidFill>
                  <a:srgbClr val="001F60"/>
                </a:solidFill>
                <a:latin typeface="Century Gothic" panose="020B0502020202020204" pitchFamily="34" charset="0"/>
              </a:rPr>
              <a:t>Elaboración y publicación Reglamento</a:t>
            </a:r>
          </a:p>
        </p:txBody>
      </p:sp>
      <p:sp>
        <p:nvSpPr>
          <p:cNvPr id="31" name="Pentágono 86">
            <a:extLst>
              <a:ext uri="{FF2B5EF4-FFF2-40B4-BE49-F238E27FC236}">
                <a16:creationId xmlns:a16="http://schemas.microsoft.com/office/drawing/2014/main" id="{83FE46FB-5426-45F6-AC0A-B66B0782D1A9}"/>
              </a:ext>
            </a:extLst>
          </p:cNvPr>
          <p:cNvSpPr/>
          <p:nvPr/>
        </p:nvSpPr>
        <p:spPr>
          <a:xfrm>
            <a:off x="9936850" y="2284991"/>
            <a:ext cx="1791041" cy="925276"/>
          </a:xfrm>
          <a:prstGeom prst="homePlate">
            <a:avLst/>
          </a:prstGeom>
          <a:solidFill>
            <a:schemeClr val="bg1"/>
          </a:solidFill>
          <a:ln>
            <a:solidFill>
              <a:srgbClr val="255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CL" sz="1200" b="1">
              <a:latin typeface="Poppins" pitchFamily="2" charset="77"/>
              <a:cs typeface="Poppins" pitchFamily="2" charset="77"/>
            </a:endParaRPr>
          </a:p>
        </p:txBody>
      </p:sp>
      <p:sp>
        <p:nvSpPr>
          <p:cNvPr id="32" name="CuadroTexto 31">
            <a:extLst>
              <a:ext uri="{FF2B5EF4-FFF2-40B4-BE49-F238E27FC236}">
                <a16:creationId xmlns:a16="http://schemas.microsoft.com/office/drawing/2014/main" id="{1B464CC1-5D80-43D0-8BF3-664E8832A258}"/>
              </a:ext>
            </a:extLst>
          </p:cNvPr>
          <p:cNvSpPr txBox="1"/>
          <p:nvPr/>
        </p:nvSpPr>
        <p:spPr>
          <a:xfrm>
            <a:off x="9945454" y="2459473"/>
            <a:ext cx="1605280" cy="553998"/>
          </a:xfrm>
          <a:prstGeom prst="rect">
            <a:avLst/>
          </a:prstGeom>
          <a:noFill/>
        </p:spPr>
        <p:txBody>
          <a:bodyPr wrap="square" rtlCol="0">
            <a:spAutoFit/>
          </a:bodyPr>
          <a:lstStyle/>
          <a:p>
            <a:r>
              <a:rPr lang="en-US" sz="1000" b="1" dirty="0">
                <a:solidFill>
                  <a:srgbClr val="001F60"/>
                </a:solidFill>
                <a:latin typeface="Century Gothic" panose="020B0502020202020204" pitchFamily="34" charset="0"/>
              </a:rPr>
              <a:t>Approval in the Council of Ministers for Sustainability</a:t>
            </a:r>
            <a:endParaRPr lang="es-CL" sz="1000" b="1" dirty="0">
              <a:solidFill>
                <a:srgbClr val="001F60"/>
              </a:solidFill>
              <a:latin typeface="Century Gothic" panose="020B0502020202020204" pitchFamily="34" charset="0"/>
            </a:endParaRPr>
          </a:p>
        </p:txBody>
      </p:sp>
    </p:spTree>
    <p:extLst>
      <p:ext uri="{BB962C8B-B14F-4D97-AF65-F5344CB8AC3E}">
        <p14:creationId xmlns:p14="http://schemas.microsoft.com/office/powerpoint/2010/main" val="16591798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2FA191F1-75B6-410D-84CD-DCC46E3F9534}"/>
              </a:ext>
            </a:extLst>
          </p:cNvPr>
          <p:cNvSpPr>
            <a:spLocks noGrp="1"/>
          </p:cNvSpPr>
          <p:nvPr>
            <p:ph type="ftr" sz="quarter" idx="11"/>
          </p:nvPr>
        </p:nvSpPr>
        <p:spPr>
          <a:xfrm>
            <a:off x="6324116" y="6561138"/>
            <a:ext cx="5046214" cy="303426"/>
          </a:xfrm>
        </p:spPr>
        <p:txBody>
          <a:bodyPr/>
          <a:lstStyle/>
          <a:p>
            <a:endParaRPr lang="es-ES"/>
          </a:p>
        </p:txBody>
      </p:sp>
      <p:sp>
        <p:nvSpPr>
          <p:cNvPr id="3" name="Marcador de número de diapositiva 2">
            <a:extLst>
              <a:ext uri="{FF2B5EF4-FFF2-40B4-BE49-F238E27FC236}">
                <a16:creationId xmlns:a16="http://schemas.microsoft.com/office/drawing/2014/main" id="{48F27FFC-18C2-46A8-B3BF-A301A7D34E84}"/>
              </a:ext>
            </a:extLst>
          </p:cNvPr>
          <p:cNvSpPr>
            <a:spLocks noGrp="1"/>
          </p:cNvSpPr>
          <p:nvPr>
            <p:ph type="sldNum" sz="quarter" idx="12"/>
          </p:nvPr>
        </p:nvSpPr>
        <p:spPr/>
        <p:txBody>
          <a:bodyPr/>
          <a:lstStyle/>
          <a:p>
            <a:r>
              <a:rPr lang="es-CL"/>
              <a:t>|   </a:t>
            </a:r>
            <a:fld id="{785CD681-51D3-414E-83F2-54688883A8C2}" type="slidenum">
              <a:rPr lang="es-CL" dirty="0" smtClean="0"/>
              <a:pPr/>
              <a:t>18</a:t>
            </a:fld>
            <a:endParaRPr lang="es-CL"/>
          </a:p>
        </p:txBody>
      </p:sp>
      <p:sp>
        <p:nvSpPr>
          <p:cNvPr id="4" name="Flecha: pentágono 3">
            <a:extLst>
              <a:ext uri="{FF2B5EF4-FFF2-40B4-BE49-F238E27FC236}">
                <a16:creationId xmlns:a16="http://schemas.microsoft.com/office/drawing/2014/main" id="{AF5C417E-BFD2-A184-AB50-93F5A2E586E3}"/>
              </a:ext>
            </a:extLst>
          </p:cNvPr>
          <p:cNvSpPr/>
          <p:nvPr/>
        </p:nvSpPr>
        <p:spPr>
          <a:xfrm>
            <a:off x="-1" y="471054"/>
            <a:ext cx="4641272" cy="775854"/>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t>Energy </a:t>
            </a:r>
            <a:r>
              <a:rPr lang="es-ES" sz="2000" b="1" dirty="0" err="1"/>
              <a:t>efficiency</a:t>
            </a:r>
            <a:r>
              <a:rPr lang="es-ES" sz="2000" b="1" dirty="0"/>
              <a:t> </a:t>
            </a:r>
            <a:r>
              <a:rPr lang="es-ES" sz="2000" b="1" dirty="0" err="1"/>
              <a:t>standards</a:t>
            </a:r>
            <a:endParaRPr lang="es-ES" sz="2000" dirty="0"/>
          </a:p>
        </p:txBody>
      </p:sp>
      <p:sp>
        <p:nvSpPr>
          <p:cNvPr id="5" name="Rectángulo 4" descr="Hoja contorno">
            <a:extLst>
              <a:ext uri="{FF2B5EF4-FFF2-40B4-BE49-F238E27FC236}">
                <a16:creationId xmlns:a16="http://schemas.microsoft.com/office/drawing/2014/main" id="{34C5249C-81F8-AF8F-78DB-C09AAFC3A4BD}"/>
              </a:ext>
            </a:extLst>
          </p:cNvPr>
          <p:cNvSpPr/>
          <p:nvPr/>
        </p:nvSpPr>
        <p:spPr>
          <a:xfrm>
            <a:off x="0" y="435704"/>
            <a:ext cx="717970" cy="717970"/>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s-CL"/>
          </a:p>
        </p:txBody>
      </p:sp>
      <p:graphicFrame>
        <p:nvGraphicFramePr>
          <p:cNvPr id="6" name="Tabla 9">
            <a:extLst>
              <a:ext uri="{FF2B5EF4-FFF2-40B4-BE49-F238E27FC236}">
                <a16:creationId xmlns:a16="http://schemas.microsoft.com/office/drawing/2014/main" id="{C8F8C41C-D02D-C811-D0A8-7FB14530E22C}"/>
              </a:ext>
            </a:extLst>
          </p:cNvPr>
          <p:cNvGraphicFramePr>
            <a:graphicFrameLocks noGrp="1"/>
          </p:cNvGraphicFramePr>
          <p:nvPr>
            <p:extLst>
              <p:ext uri="{D42A27DB-BD31-4B8C-83A1-F6EECF244321}">
                <p14:modId xmlns:p14="http://schemas.microsoft.com/office/powerpoint/2010/main" val="3009701910"/>
              </p:ext>
            </p:extLst>
          </p:nvPr>
        </p:nvGraphicFramePr>
        <p:xfrm>
          <a:off x="4106806" y="3684749"/>
          <a:ext cx="3665598" cy="2363794"/>
        </p:xfrm>
        <a:graphic>
          <a:graphicData uri="http://schemas.openxmlformats.org/drawingml/2006/table">
            <a:tbl>
              <a:tblPr firstRow="1" bandRow="1">
                <a:tableStyleId>{5C22544A-7EE6-4342-B048-85BDC9FD1C3A}</a:tableStyleId>
              </a:tblPr>
              <a:tblGrid>
                <a:gridCol w="1399960">
                  <a:extLst>
                    <a:ext uri="{9D8B030D-6E8A-4147-A177-3AD203B41FA5}">
                      <a16:colId xmlns:a16="http://schemas.microsoft.com/office/drawing/2014/main" val="3971226976"/>
                    </a:ext>
                  </a:extLst>
                </a:gridCol>
                <a:gridCol w="2265638">
                  <a:extLst>
                    <a:ext uri="{9D8B030D-6E8A-4147-A177-3AD203B41FA5}">
                      <a16:colId xmlns:a16="http://schemas.microsoft.com/office/drawing/2014/main" val="70909916"/>
                    </a:ext>
                  </a:extLst>
                </a:gridCol>
              </a:tblGrid>
              <a:tr h="924963">
                <a:tc>
                  <a:txBody>
                    <a:bodyPr/>
                    <a:lstStyle/>
                    <a:p>
                      <a:pPr algn="ctr"/>
                      <a:r>
                        <a:rPr lang="es-ES" sz="1800" dirty="0" err="1"/>
                        <a:t>Validity</a:t>
                      </a:r>
                      <a:endParaRPr lang="es-CL" sz="18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800" dirty="0"/>
                        <a:t>Reference Standard [km/</a:t>
                      </a:r>
                      <a:r>
                        <a:rPr lang="es-ES" sz="1800" dirty="0" err="1"/>
                        <a:t>lgeq</a:t>
                      </a:r>
                      <a:r>
                        <a:rPr lang="es-ES" sz="1800" dirty="0"/>
                        <a:t>]</a:t>
                      </a:r>
                      <a:endParaRPr lang="es-CL" sz="1800" dirty="0"/>
                    </a:p>
                  </a:txBody>
                  <a:tcPr anchor="ctr"/>
                </a:tc>
                <a:extLst>
                  <a:ext uri="{0D108BD9-81ED-4DB2-BD59-A6C34878D82A}">
                    <a16:rowId xmlns:a16="http://schemas.microsoft.com/office/drawing/2014/main" val="1194066464"/>
                  </a:ext>
                </a:extLst>
              </a:tr>
              <a:tr h="390540">
                <a:tc>
                  <a:txBody>
                    <a:bodyPr/>
                    <a:lstStyle/>
                    <a:p>
                      <a:pPr algn="ctr"/>
                      <a:r>
                        <a:rPr lang="es-ES" sz="1800"/>
                        <a:t>2024-2026</a:t>
                      </a:r>
                      <a:endParaRPr lang="es-CL" sz="1800"/>
                    </a:p>
                  </a:txBody>
                  <a:tcPr/>
                </a:tc>
                <a:tc>
                  <a:txBody>
                    <a:bodyPr/>
                    <a:lstStyle/>
                    <a:p>
                      <a:pPr algn="ctr"/>
                      <a:r>
                        <a:rPr lang="es-ES" sz="1800"/>
                        <a:t>18,8</a:t>
                      </a:r>
                      <a:endParaRPr lang="es-CL" sz="1800"/>
                    </a:p>
                  </a:txBody>
                  <a:tcPr anchor="ctr"/>
                </a:tc>
                <a:extLst>
                  <a:ext uri="{0D108BD9-81ED-4DB2-BD59-A6C34878D82A}">
                    <a16:rowId xmlns:a16="http://schemas.microsoft.com/office/drawing/2014/main" val="3511826063"/>
                  </a:ext>
                </a:extLst>
              </a:tr>
              <a:tr h="390540">
                <a:tc>
                  <a:txBody>
                    <a:bodyPr/>
                    <a:lstStyle/>
                    <a:p>
                      <a:pPr algn="ctr"/>
                      <a:r>
                        <a:rPr lang="es-ES" sz="1800"/>
                        <a:t>2027-2029</a:t>
                      </a:r>
                      <a:endParaRPr lang="es-CL" sz="1800"/>
                    </a:p>
                  </a:txBody>
                  <a:tcPr/>
                </a:tc>
                <a:tc>
                  <a:txBody>
                    <a:bodyPr/>
                    <a:lstStyle/>
                    <a:p>
                      <a:pPr algn="ctr"/>
                      <a:r>
                        <a:rPr lang="es-ES" sz="1800"/>
                        <a:t>22,8</a:t>
                      </a:r>
                      <a:endParaRPr lang="es-CL" sz="1800"/>
                    </a:p>
                  </a:txBody>
                  <a:tcPr anchor="ctr"/>
                </a:tc>
                <a:extLst>
                  <a:ext uri="{0D108BD9-81ED-4DB2-BD59-A6C34878D82A}">
                    <a16:rowId xmlns:a16="http://schemas.microsoft.com/office/drawing/2014/main" val="1216573322"/>
                  </a:ext>
                </a:extLst>
              </a:tr>
              <a:tr h="657751">
                <a:tc>
                  <a:txBody>
                    <a:bodyPr/>
                    <a:lstStyle/>
                    <a:p>
                      <a:pPr algn="ctr"/>
                      <a:r>
                        <a:rPr lang="es-ES" sz="1800"/>
                        <a:t>2030 en adelante</a:t>
                      </a:r>
                      <a:endParaRPr lang="es-CL" sz="1800"/>
                    </a:p>
                  </a:txBody>
                  <a:tcPr/>
                </a:tc>
                <a:tc>
                  <a:txBody>
                    <a:bodyPr/>
                    <a:lstStyle/>
                    <a:p>
                      <a:pPr algn="ctr"/>
                      <a:r>
                        <a:rPr lang="es-ES" sz="1800" dirty="0"/>
                        <a:t>28,9</a:t>
                      </a:r>
                      <a:endParaRPr lang="es-CL" sz="1800" dirty="0"/>
                    </a:p>
                  </a:txBody>
                  <a:tcPr anchor="ctr"/>
                </a:tc>
                <a:extLst>
                  <a:ext uri="{0D108BD9-81ED-4DB2-BD59-A6C34878D82A}">
                    <a16:rowId xmlns:a16="http://schemas.microsoft.com/office/drawing/2014/main" val="47470472"/>
                  </a:ext>
                </a:extLst>
              </a:tr>
            </a:tbl>
          </a:graphicData>
        </a:graphic>
      </p:graphicFrame>
      <p:sp>
        <p:nvSpPr>
          <p:cNvPr id="9" name="Rectángulo 8">
            <a:extLst>
              <a:ext uri="{FF2B5EF4-FFF2-40B4-BE49-F238E27FC236}">
                <a16:creationId xmlns:a16="http://schemas.microsoft.com/office/drawing/2014/main" id="{7B234B8E-CF7E-894B-887E-5CBFA965D8A4}"/>
              </a:ext>
            </a:extLst>
          </p:cNvPr>
          <p:cNvSpPr/>
          <p:nvPr/>
        </p:nvSpPr>
        <p:spPr>
          <a:xfrm>
            <a:off x="4106805" y="2923820"/>
            <a:ext cx="3665599" cy="4886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900" b="1"/>
              <a:t>Standard Light Vehicles</a:t>
            </a:r>
            <a:endParaRPr lang="es-CL" sz="1900" b="1" dirty="0"/>
          </a:p>
        </p:txBody>
      </p:sp>
      <p:sp>
        <p:nvSpPr>
          <p:cNvPr id="13" name="CuadroTexto 12">
            <a:extLst>
              <a:ext uri="{FF2B5EF4-FFF2-40B4-BE49-F238E27FC236}">
                <a16:creationId xmlns:a16="http://schemas.microsoft.com/office/drawing/2014/main" id="{9A5CF5EF-5343-76A4-8B2D-8E2B75C664BE}"/>
              </a:ext>
            </a:extLst>
          </p:cNvPr>
          <p:cNvSpPr txBox="1"/>
          <p:nvPr/>
        </p:nvSpPr>
        <p:spPr>
          <a:xfrm>
            <a:off x="1621409" y="1391783"/>
            <a:ext cx="8663233" cy="1200329"/>
          </a:xfrm>
          <a:prstGeom prst="rect">
            <a:avLst/>
          </a:prstGeom>
          <a:noFill/>
        </p:spPr>
        <p:txBody>
          <a:bodyPr wrap="square" rtlCol="0">
            <a:spAutoFit/>
          </a:bodyPr>
          <a:lstStyle/>
          <a:p>
            <a:r>
              <a:rPr lang="en-US" dirty="0"/>
              <a:t>What is the reference standard?</a:t>
            </a:r>
          </a:p>
          <a:p>
            <a:r>
              <a:rPr lang="en-US" dirty="0"/>
              <a:t>
The reference standard is a goal of the average energy efficiency of the vehicle fleet to be achieved.</a:t>
            </a:r>
            <a:endParaRPr lang="es-CL" dirty="0"/>
          </a:p>
        </p:txBody>
      </p:sp>
      <p:pic>
        <p:nvPicPr>
          <p:cNvPr id="14" name="Imagen 13">
            <a:extLst>
              <a:ext uri="{FF2B5EF4-FFF2-40B4-BE49-F238E27FC236}">
                <a16:creationId xmlns:a16="http://schemas.microsoft.com/office/drawing/2014/main" id="{AB24C38D-5578-E6CD-6276-51EB3B201128}"/>
              </a:ext>
            </a:extLst>
          </p:cNvPr>
          <p:cNvPicPr>
            <a:picLocks noChangeAspect="1"/>
          </p:cNvPicPr>
          <p:nvPr/>
        </p:nvPicPr>
        <p:blipFill>
          <a:blip r:embed="rId5"/>
          <a:srcRect l="81726"/>
          <a:stretch/>
        </p:blipFill>
        <p:spPr>
          <a:xfrm>
            <a:off x="1059707" y="2269182"/>
            <a:ext cx="1454939" cy="4291956"/>
          </a:xfrm>
          <a:prstGeom prst="rect">
            <a:avLst/>
          </a:prstGeom>
        </p:spPr>
      </p:pic>
    </p:spTree>
    <p:extLst>
      <p:ext uri="{BB962C8B-B14F-4D97-AF65-F5344CB8AC3E}">
        <p14:creationId xmlns:p14="http://schemas.microsoft.com/office/powerpoint/2010/main" val="230926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2FA191F1-75B6-410D-84CD-DCC46E3F9534}"/>
              </a:ext>
            </a:extLst>
          </p:cNvPr>
          <p:cNvSpPr>
            <a:spLocks noGrp="1"/>
          </p:cNvSpPr>
          <p:nvPr>
            <p:ph type="ftr" sz="quarter" idx="11"/>
          </p:nvPr>
        </p:nvSpPr>
        <p:spPr>
          <a:xfrm>
            <a:off x="6292218" y="6561138"/>
            <a:ext cx="5046214" cy="303426"/>
          </a:xfrm>
        </p:spPr>
        <p:txBody>
          <a:bodyPr/>
          <a:lstStyle/>
          <a:p>
            <a:endParaRPr lang="es-ES"/>
          </a:p>
        </p:txBody>
      </p:sp>
      <p:sp>
        <p:nvSpPr>
          <p:cNvPr id="3" name="Marcador de número de diapositiva 2">
            <a:extLst>
              <a:ext uri="{FF2B5EF4-FFF2-40B4-BE49-F238E27FC236}">
                <a16:creationId xmlns:a16="http://schemas.microsoft.com/office/drawing/2014/main" id="{48F27FFC-18C2-46A8-B3BF-A301A7D34E84}"/>
              </a:ext>
            </a:extLst>
          </p:cNvPr>
          <p:cNvSpPr>
            <a:spLocks noGrp="1"/>
          </p:cNvSpPr>
          <p:nvPr>
            <p:ph type="sldNum" sz="quarter" idx="12"/>
          </p:nvPr>
        </p:nvSpPr>
        <p:spPr/>
        <p:txBody>
          <a:bodyPr/>
          <a:lstStyle/>
          <a:p>
            <a:r>
              <a:rPr lang="es-CL"/>
              <a:t>|   </a:t>
            </a:r>
            <a:fld id="{785CD681-51D3-414E-83F2-54688883A8C2}" type="slidenum">
              <a:rPr lang="es-CL" dirty="0" smtClean="0"/>
              <a:pPr/>
              <a:t>19</a:t>
            </a:fld>
            <a:endParaRPr lang="es-CL"/>
          </a:p>
        </p:txBody>
      </p:sp>
      <p:sp>
        <p:nvSpPr>
          <p:cNvPr id="4" name="Flecha: pentágono 3">
            <a:extLst>
              <a:ext uri="{FF2B5EF4-FFF2-40B4-BE49-F238E27FC236}">
                <a16:creationId xmlns:a16="http://schemas.microsoft.com/office/drawing/2014/main" id="{AF5C417E-BFD2-A184-AB50-93F5A2E586E3}"/>
              </a:ext>
            </a:extLst>
          </p:cNvPr>
          <p:cNvSpPr/>
          <p:nvPr/>
        </p:nvSpPr>
        <p:spPr>
          <a:xfrm>
            <a:off x="-1" y="471054"/>
            <a:ext cx="4641272" cy="775854"/>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t>Energy </a:t>
            </a:r>
            <a:r>
              <a:rPr lang="es-ES" sz="2000" b="1" dirty="0" err="1"/>
              <a:t>efficiency</a:t>
            </a:r>
            <a:r>
              <a:rPr lang="es-ES" sz="2000" b="1" dirty="0"/>
              <a:t> </a:t>
            </a:r>
            <a:r>
              <a:rPr lang="es-ES" sz="2000" b="1" dirty="0" err="1"/>
              <a:t>standards</a:t>
            </a:r>
            <a:endParaRPr lang="es-ES" sz="2000" dirty="0"/>
          </a:p>
        </p:txBody>
      </p:sp>
      <p:sp>
        <p:nvSpPr>
          <p:cNvPr id="14" name="Rectángulo 13">
            <a:extLst>
              <a:ext uri="{FF2B5EF4-FFF2-40B4-BE49-F238E27FC236}">
                <a16:creationId xmlns:a16="http://schemas.microsoft.com/office/drawing/2014/main" id="{64460D6F-1192-A8CC-A545-43F2B2CDDF07}"/>
              </a:ext>
            </a:extLst>
          </p:cNvPr>
          <p:cNvSpPr/>
          <p:nvPr/>
        </p:nvSpPr>
        <p:spPr>
          <a:xfrm>
            <a:off x="3685032" y="3210308"/>
            <a:ext cx="4882896" cy="61472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s-CL"/>
          </a:p>
        </p:txBody>
      </p:sp>
      <p:sp>
        <p:nvSpPr>
          <p:cNvPr id="5" name="Rectángulo 4" descr="Hoja contorno">
            <a:extLst>
              <a:ext uri="{FF2B5EF4-FFF2-40B4-BE49-F238E27FC236}">
                <a16:creationId xmlns:a16="http://schemas.microsoft.com/office/drawing/2014/main" id="{34C5249C-81F8-AF8F-78DB-C09AAFC3A4BD}"/>
              </a:ext>
            </a:extLst>
          </p:cNvPr>
          <p:cNvSpPr/>
          <p:nvPr/>
        </p:nvSpPr>
        <p:spPr>
          <a:xfrm>
            <a:off x="0" y="435704"/>
            <a:ext cx="717970" cy="717970"/>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s-CL"/>
          </a:p>
        </p:txBody>
      </p:sp>
      <p:sp>
        <p:nvSpPr>
          <p:cNvPr id="13" name="CuadroTexto 12">
            <a:extLst>
              <a:ext uri="{FF2B5EF4-FFF2-40B4-BE49-F238E27FC236}">
                <a16:creationId xmlns:a16="http://schemas.microsoft.com/office/drawing/2014/main" id="{9A5CF5EF-5343-76A4-8B2D-8E2B75C664BE}"/>
              </a:ext>
            </a:extLst>
          </p:cNvPr>
          <p:cNvSpPr txBox="1"/>
          <p:nvPr/>
        </p:nvSpPr>
        <p:spPr>
          <a:xfrm>
            <a:off x="1621409" y="1391783"/>
            <a:ext cx="8663233" cy="1477328"/>
          </a:xfrm>
          <a:prstGeom prst="rect">
            <a:avLst/>
          </a:prstGeom>
          <a:noFill/>
        </p:spPr>
        <p:txBody>
          <a:bodyPr wrap="square" rtlCol="0">
            <a:spAutoFit/>
          </a:bodyPr>
          <a:lstStyle/>
          <a:p>
            <a:r>
              <a:rPr lang="en-US" b="1" dirty="0"/>
              <a:t>What is the required standard?</a:t>
            </a:r>
            <a:br>
              <a:rPr lang="en-US" dirty="0"/>
            </a:br>
            <a:endParaRPr lang="en-US" dirty="0"/>
          </a:p>
          <a:p>
            <a:r>
              <a:rPr lang="en-US" b="1" dirty="0"/>
              <a:t>The required standard </a:t>
            </a:r>
            <a:r>
              <a:rPr lang="en-US" dirty="0"/>
              <a:t>is a straight line to evaluate the standard to be met by each importer. Each importer's standard will depend on the </a:t>
            </a:r>
            <a:r>
              <a:rPr lang="en-US" b="1" dirty="0"/>
              <a:t>average reference mass </a:t>
            </a:r>
            <a:r>
              <a:rPr lang="en-US" dirty="0"/>
              <a:t>of the vehicles it markets in the year of evaluation.</a:t>
            </a:r>
          </a:p>
        </p:txBody>
      </p:sp>
      <mc:AlternateContent xmlns:mc="http://schemas.openxmlformats.org/markup-compatibility/2006" xmlns:a14="http://schemas.microsoft.com/office/drawing/2010/main">
        <mc:Choice Requires="a14">
          <p:sp>
            <p:nvSpPr>
              <p:cNvPr id="7" name="CuadroTexto 6">
                <a:extLst>
                  <a:ext uri="{FF2B5EF4-FFF2-40B4-BE49-F238E27FC236}">
                    <a16:creationId xmlns:a16="http://schemas.microsoft.com/office/drawing/2014/main" id="{6C67744A-9CF0-919A-9DD4-06EBD174E0C3}"/>
                  </a:ext>
                </a:extLst>
              </p:cNvPr>
              <p:cNvSpPr txBox="1"/>
              <p:nvPr/>
            </p:nvSpPr>
            <p:spPr>
              <a:xfrm>
                <a:off x="3799922" y="3333582"/>
                <a:ext cx="4592155" cy="36817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CL" b="0" i="1" smtClean="0">
                          <a:latin typeface="Cambria Math" panose="02040503050406030204" pitchFamily="18" charset="0"/>
                        </a:rPr>
                        <m:t>𝐸𝑠𝑡</m:t>
                      </m:r>
                      <m:r>
                        <a:rPr lang="es-CL" b="0" i="1" smtClean="0">
                          <a:latin typeface="Cambria Math" panose="02040503050406030204" pitchFamily="18" charset="0"/>
                        </a:rPr>
                        <m:t>á</m:t>
                      </m:r>
                      <m:r>
                        <a:rPr lang="es-CL" b="0" i="1" smtClean="0">
                          <a:latin typeface="Cambria Math" panose="02040503050406030204" pitchFamily="18" charset="0"/>
                        </a:rPr>
                        <m:t>𝑛𝑑𝑎</m:t>
                      </m:r>
                      <m:sSub>
                        <m:sSubPr>
                          <m:ctrlPr>
                            <a:rPr lang="es-CL" b="0" i="1" smtClean="0">
                              <a:latin typeface="Cambria Math" panose="02040503050406030204" pitchFamily="18" charset="0"/>
                            </a:rPr>
                          </m:ctrlPr>
                        </m:sSubPr>
                        <m:e>
                          <m:sSub>
                            <m:sSubPr>
                              <m:ctrlPr>
                                <a:rPr lang="es-CL" b="0" i="1" smtClean="0">
                                  <a:latin typeface="Cambria Math" panose="02040503050406030204" pitchFamily="18" charset="0"/>
                                </a:rPr>
                              </m:ctrlPr>
                            </m:sSubPr>
                            <m:e>
                              <m:r>
                                <a:rPr lang="es-CL" b="0" i="1" smtClean="0">
                                  <a:latin typeface="Cambria Math" panose="02040503050406030204" pitchFamily="18" charset="0"/>
                                </a:rPr>
                                <m:t>𝑟</m:t>
                              </m:r>
                            </m:e>
                            <m:sub>
                              <m:r>
                                <a:rPr lang="es-CL" b="0" i="1" smtClean="0">
                                  <a:latin typeface="Cambria Math" panose="02040503050406030204" pitchFamily="18" charset="0"/>
                                </a:rPr>
                                <m:t>𝑖</m:t>
                              </m:r>
                            </m:sub>
                          </m:sSub>
                        </m:e>
                        <m:sub>
                          <m:r>
                            <a:rPr lang="es-CL" b="0" i="1" smtClean="0">
                              <a:latin typeface="Cambria Math" panose="02040503050406030204" pitchFamily="18" charset="0"/>
                            </a:rPr>
                            <m:t>𝑗</m:t>
                          </m:r>
                        </m:sub>
                      </m:sSub>
                      <m:r>
                        <a:rPr lang="es-CL" b="0" i="1" smtClean="0">
                          <a:latin typeface="Cambria Math" panose="02040503050406030204" pitchFamily="18" charset="0"/>
                        </a:rPr>
                        <m:t>=</m:t>
                      </m:r>
                      <m:r>
                        <a:rPr lang="es-CL" b="0" i="1" smtClean="0">
                          <a:latin typeface="Cambria Math" panose="02040503050406030204" pitchFamily="18" charset="0"/>
                        </a:rPr>
                        <m:t>𝐸𝑠𝑡</m:t>
                      </m:r>
                      <m:r>
                        <a:rPr lang="es-CL" b="0" i="1" smtClean="0">
                          <a:latin typeface="Cambria Math" panose="02040503050406030204" pitchFamily="18" charset="0"/>
                        </a:rPr>
                        <m:t>á</m:t>
                      </m:r>
                      <m:r>
                        <a:rPr lang="es-CL" b="0" i="1" smtClean="0">
                          <a:latin typeface="Cambria Math" panose="02040503050406030204" pitchFamily="18" charset="0"/>
                        </a:rPr>
                        <m:t>𝑛𝑑𝑎</m:t>
                      </m:r>
                      <m:sSub>
                        <m:sSubPr>
                          <m:ctrlPr>
                            <a:rPr lang="es-CL" b="0" i="1" smtClean="0">
                              <a:latin typeface="Cambria Math" panose="02040503050406030204" pitchFamily="18" charset="0"/>
                            </a:rPr>
                          </m:ctrlPr>
                        </m:sSubPr>
                        <m:e>
                          <m:sSub>
                            <m:sSubPr>
                              <m:ctrlPr>
                                <a:rPr lang="es-CL" b="0" i="1" smtClean="0">
                                  <a:latin typeface="Cambria Math" panose="02040503050406030204" pitchFamily="18" charset="0"/>
                                </a:rPr>
                              </m:ctrlPr>
                            </m:sSubPr>
                            <m:e>
                              <m:r>
                                <a:rPr lang="es-CL" b="0" i="1" smtClean="0">
                                  <a:latin typeface="Cambria Math" panose="02040503050406030204" pitchFamily="18" charset="0"/>
                                </a:rPr>
                                <m:t>𝑟</m:t>
                              </m:r>
                            </m:e>
                            <m:sub>
                              <m:r>
                                <a:rPr lang="es-CL" b="0" i="1" smtClean="0">
                                  <a:latin typeface="Cambria Math" panose="02040503050406030204" pitchFamily="18" charset="0"/>
                                </a:rPr>
                                <m:t>𝑟𝑒𝑓</m:t>
                              </m:r>
                            </m:sub>
                          </m:sSub>
                        </m:e>
                        <m:sub>
                          <m:r>
                            <a:rPr lang="es-CL" b="0" i="1" smtClean="0">
                              <a:latin typeface="Cambria Math" panose="02040503050406030204" pitchFamily="18" charset="0"/>
                            </a:rPr>
                            <m:t>𝑗</m:t>
                          </m:r>
                        </m:sub>
                      </m:sSub>
                      <m:r>
                        <a:rPr lang="es-CL" b="0" i="1" smtClean="0">
                          <a:latin typeface="Cambria Math" panose="02040503050406030204" pitchFamily="18" charset="0"/>
                        </a:rPr>
                        <m:t>+</m:t>
                      </m:r>
                      <m:r>
                        <a:rPr lang="es-CL" b="0" i="1" smtClean="0">
                          <a:latin typeface="Cambria Math" panose="02040503050406030204" pitchFamily="18" charset="0"/>
                        </a:rPr>
                        <m:t>𝑎</m:t>
                      </m:r>
                      <m:r>
                        <a:rPr lang="es-CL" b="0" i="1" smtClean="0">
                          <a:latin typeface="Cambria Math" panose="02040503050406030204" pitchFamily="18" charset="0"/>
                        </a:rPr>
                        <m:t> ∗(</m:t>
                      </m:r>
                      <m:sSub>
                        <m:sSubPr>
                          <m:ctrlPr>
                            <a:rPr lang="es-CL" b="0" i="1" smtClean="0">
                              <a:latin typeface="Cambria Math" panose="02040503050406030204" pitchFamily="18" charset="0"/>
                            </a:rPr>
                          </m:ctrlPr>
                        </m:sSubPr>
                        <m:e>
                          <m:r>
                            <a:rPr lang="es-CL" b="0" i="1" smtClean="0">
                              <a:latin typeface="Cambria Math" panose="02040503050406030204" pitchFamily="18" charset="0"/>
                            </a:rPr>
                            <m:t>𝑀</m:t>
                          </m:r>
                        </m:e>
                        <m:sub>
                          <m:sSub>
                            <m:sSubPr>
                              <m:ctrlPr>
                                <a:rPr lang="es-CL" b="0" i="1" smtClean="0">
                                  <a:latin typeface="Cambria Math" panose="02040503050406030204" pitchFamily="18" charset="0"/>
                                </a:rPr>
                              </m:ctrlPr>
                            </m:sSubPr>
                            <m:e>
                              <m:r>
                                <a:rPr lang="es-CL" b="0" i="1" smtClean="0">
                                  <a:latin typeface="Cambria Math" panose="02040503050406030204" pitchFamily="18" charset="0"/>
                                </a:rPr>
                                <m:t>𝑖</m:t>
                              </m:r>
                            </m:e>
                            <m:sub>
                              <m:r>
                                <a:rPr lang="es-CL" b="0" i="1" smtClean="0">
                                  <a:latin typeface="Cambria Math" panose="02040503050406030204" pitchFamily="18" charset="0"/>
                                </a:rPr>
                                <m:t>𝑗</m:t>
                              </m:r>
                            </m:sub>
                          </m:sSub>
                        </m:sub>
                      </m:sSub>
                      <m:r>
                        <a:rPr lang="es-CL" b="0" i="1" smtClean="0">
                          <a:latin typeface="Cambria Math" panose="02040503050406030204" pitchFamily="18" charset="0"/>
                        </a:rPr>
                        <m:t>−</m:t>
                      </m:r>
                      <m:sSub>
                        <m:sSubPr>
                          <m:ctrlPr>
                            <a:rPr lang="es-CL" b="0" i="1" smtClean="0">
                              <a:latin typeface="Cambria Math" panose="02040503050406030204" pitchFamily="18" charset="0"/>
                            </a:rPr>
                          </m:ctrlPr>
                        </m:sSubPr>
                        <m:e>
                          <m:r>
                            <a:rPr lang="es-CL" b="0" i="1" smtClean="0">
                              <a:latin typeface="Cambria Math" panose="02040503050406030204" pitchFamily="18" charset="0"/>
                            </a:rPr>
                            <m:t>𝑀</m:t>
                          </m:r>
                        </m:e>
                        <m:sub>
                          <m:r>
                            <a:rPr lang="es-CL" b="0" i="1" smtClean="0">
                              <a:latin typeface="Cambria Math" panose="02040503050406030204" pitchFamily="18" charset="0"/>
                            </a:rPr>
                            <m:t>0</m:t>
                          </m:r>
                        </m:sub>
                      </m:sSub>
                      <m:r>
                        <a:rPr lang="es-CL" b="0" i="1" smtClean="0">
                          <a:latin typeface="Cambria Math" panose="02040503050406030204" pitchFamily="18" charset="0"/>
                        </a:rPr>
                        <m:t>)</m:t>
                      </m:r>
                    </m:oMath>
                  </m:oMathPara>
                </a14:m>
                <a:endParaRPr lang="es-CL"/>
              </a:p>
            </p:txBody>
          </p:sp>
        </mc:Choice>
        <mc:Fallback xmlns="">
          <p:sp>
            <p:nvSpPr>
              <p:cNvPr id="7" name="CuadroTexto 6">
                <a:extLst>
                  <a:ext uri="{FF2B5EF4-FFF2-40B4-BE49-F238E27FC236}">
                    <a16:creationId xmlns:a16="http://schemas.microsoft.com/office/drawing/2014/main" id="{6C67744A-9CF0-919A-9DD4-06EBD174E0C3}"/>
                  </a:ext>
                </a:extLst>
              </p:cNvPr>
              <p:cNvSpPr txBox="1">
                <a:spLocks noRot="1" noChangeAspect="1" noMove="1" noResize="1" noEditPoints="1" noAdjustHandles="1" noChangeArrowheads="1" noChangeShapeType="1" noTextEdit="1"/>
              </p:cNvSpPr>
              <p:nvPr/>
            </p:nvSpPr>
            <p:spPr>
              <a:xfrm>
                <a:off x="3799922" y="3333582"/>
                <a:ext cx="4592155" cy="368178"/>
              </a:xfrm>
              <a:prstGeom prst="rect">
                <a:avLst/>
              </a:prstGeom>
              <a:blipFill>
                <a:blip r:embed="rId5"/>
                <a:stretch>
                  <a:fillRect l="-398" r="-928" b="-2333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CuadroTexto 9">
                <a:extLst>
                  <a:ext uri="{FF2B5EF4-FFF2-40B4-BE49-F238E27FC236}">
                    <a16:creationId xmlns:a16="http://schemas.microsoft.com/office/drawing/2014/main" id="{62EB643B-3233-1E0B-B211-F4EEB300CCC2}"/>
                  </a:ext>
                </a:extLst>
              </p:cNvPr>
              <p:cNvSpPr txBox="1"/>
              <p:nvPr/>
            </p:nvSpPr>
            <p:spPr>
              <a:xfrm>
                <a:off x="1621408" y="3889233"/>
                <a:ext cx="10235629" cy="2846228"/>
              </a:xfrm>
              <a:prstGeom prst="rect">
                <a:avLst/>
              </a:prstGeom>
              <a:noFill/>
            </p:spPr>
            <p:txBody>
              <a:bodyPr wrap="square">
                <a:spAutoFit/>
              </a:bodyPr>
              <a:lstStyle/>
              <a:p>
                <a14:m>
                  <m:oMath xmlns:m="http://schemas.openxmlformats.org/officeDocument/2006/math">
                    <m:r>
                      <a:rPr lang="es-CL" sz="1400" b="1" i="1" smtClean="0">
                        <a:latin typeface="Cambria Math" panose="02040503050406030204" pitchFamily="18" charset="0"/>
                      </a:rPr>
                      <m:t>𝑬𝒔𝒕</m:t>
                    </m:r>
                    <m:r>
                      <a:rPr lang="es-CL" sz="1400" b="1" i="1" smtClean="0">
                        <a:latin typeface="Cambria Math" panose="02040503050406030204" pitchFamily="18" charset="0"/>
                      </a:rPr>
                      <m:t>á</m:t>
                    </m:r>
                    <m:r>
                      <a:rPr lang="es-CL" sz="1400" b="1" i="1" smtClean="0">
                        <a:latin typeface="Cambria Math" panose="02040503050406030204" pitchFamily="18" charset="0"/>
                      </a:rPr>
                      <m:t>𝒏𝒅𝒂</m:t>
                    </m:r>
                    <m:sSub>
                      <m:sSubPr>
                        <m:ctrlPr>
                          <a:rPr lang="es-CL" sz="1400" b="1" i="1" smtClean="0">
                            <a:latin typeface="Cambria Math" panose="02040503050406030204" pitchFamily="18" charset="0"/>
                          </a:rPr>
                        </m:ctrlPr>
                      </m:sSubPr>
                      <m:e>
                        <m:sSub>
                          <m:sSubPr>
                            <m:ctrlPr>
                              <a:rPr lang="es-CL" sz="1400" b="1" i="1" smtClean="0">
                                <a:latin typeface="Cambria Math" panose="02040503050406030204" pitchFamily="18" charset="0"/>
                              </a:rPr>
                            </m:ctrlPr>
                          </m:sSubPr>
                          <m:e>
                            <m:r>
                              <a:rPr lang="es-CL" sz="1400" b="1" i="1" smtClean="0">
                                <a:latin typeface="Cambria Math" panose="02040503050406030204" pitchFamily="18" charset="0"/>
                              </a:rPr>
                              <m:t>𝒓</m:t>
                            </m:r>
                          </m:e>
                          <m:sub>
                            <m:r>
                              <a:rPr lang="es-CL" sz="1400" b="1" i="1" smtClean="0">
                                <a:latin typeface="Cambria Math" panose="02040503050406030204" pitchFamily="18" charset="0"/>
                              </a:rPr>
                              <m:t>𝒊</m:t>
                            </m:r>
                          </m:sub>
                        </m:sSub>
                      </m:e>
                      <m:sub>
                        <m:r>
                          <a:rPr lang="es-CL" sz="1400" b="1" i="1" smtClean="0">
                            <a:latin typeface="Cambria Math" panose="02040503050406030204" pitchFamily="18" charset="0"/>
                          </a:rPr>
                          <m:t>𝒋</m:t>
                        </m:r>
                      </m:sub>
                    </m:sSub>
                  </m:oMath>
                </a14:m>
                <a:r>
                  <a:rPr lang="en-US" sz="1400" dirty="0"/>
                  <a:t>: energy performance standard</a:t>
                </a:r>
                <a:r>
                  <a:rPr lang="en-US" sz="1400" b="1" dirty="0"/>
                  <a:t> </a:t>
                </a:r>
                <a:r>
                  <a:rPr lang="en-US" sz="1400" dirty="0"/>
                  <a:t>in</a:t>
                </a:r>
                <a:r>
                  <a:rPr lang="en-US" sz="1400" b="1" dirty="0"/>
                  <a:t> </a:t>
                </a:r>
                <a:r>
                  <a:rPr lang="en-US" sz="1400" dirty="0"/>
                  <a:t>km/</a:t>
                </a:r>
                <a:r>
                  <a:rPr lang="en-US" sz="1400" dirty="0" err="1"/>
                  <a:t>lge</a:t>
                </a:r>
                <a:r>
                  <a:rPr lang="en-US" sz="1400" dirty="0"/>
                  <a:t> to be met by responsible party </a:t>
                </a:r>
                <a:r>
                  <a:rPr lang="en-US" sz="1400" i="1" dirty="0" err="1"/>
                  <a:t>i</a:t>
                </a:r>
                <a:r>
                  <a:rPr lang="en-US" sz="1400" dirty="0"/>
                  <a:t> in year </a:t>
                </a:r>
                <a:r>
                  <a:rPr lang="en-US" sz="1400" i="1" dirty="0"/>
                  <a:t>j.</a:t>
                </a:r>
                <a:endParaRPr lang="en-US" sz="1400" dirty="0"/>
              </a:p>
              <a:p>
                <a:endParaRPr lang="es-CL" sz="1400" i="1" dirty="0"/>
              </a:p>
              <a:p>
                <a:endParaRPr lang="es-CL" sz="1400" i="1" dirty="0"/>
              </a:p>
              <a:p>
                <a14:m>
                  <m:oMath xmlns:m="http://schemas.openxmlformats.org/officeDocument/2006/math">
                    <m:r>
                      <a:rPr lang="es-CL" sz="1400" b="1" i="1" smtClean="0">
                        <a:latin typeface="Cambria Math" panose="02040503050406030204" pitchFamily="18" charset="0"/>
                      </a:rPr>
                      <m:t>𝑬𝒔𝒕</m:t>
                    </m:r>
                    <m:r>
                      <a:rPr lang="es-CL" sz="1400" b="1" i="1" smtClean="0">
                        <a:latin typeface="Cambria Math" panose="02040503050406030204" pitchFamily="18" charset="0"/>
                      </a:rPr>
                      <m:t>á</m:t>
                    </m:r>
                    <m:r>
                      <a:rPr lang="es-CL" sz="1400" b="1" i="1" smtClean="0">
                        <a:latin typeface="Cambria Math" panose="02040503050406030204" pitchFamily="18" charset="0"/>
                      </a:rPr>
                      <m:t>𝒏𝒅𝒂</m:t>
                    </m:r>
                    <m:sSub>
                      <m:sSubPr>
                        <m:ctrlPr>
                          <a:rPr lang="es-CL" sz="1400" b="1" i="1" smtClean="0">
                            <a:latin typeface="Cambria Math" panose="02040503050406030204" pitchFamily="18" charset="0"/>
                          </a:rPr>
                        </m:ctrlPr>
                      </m:sSubPr>
                      <m:e>
                        <m:sSub>
                          <m:sSubPr>
                            <m:ctrlPr>
                              <a:rPr lang="es-CL" sz="1400" b="1" i="1" smtClean="0">
                                <a:latin typeface="Cambria Math" panose="02040503050406030204" pitchFamily="18" charset="0"/>
                              </a:rPr>
                            </m:ctrlPr>
                          </m:sSubPr>
                          <m:e>
                            <m:r>
                              <a:rPr lang="es-CL" sz="1400" b="1" i="1" smtClean="0">
                                <a:latin typeface="Cambria Math" panose="02040503050406030204" pitchFamily="18" charset="0"/>
                              </a:rPr>
                              <m:t>𝒓</m:t>
                            </m:r>
                          </m:e>
                          <m:sub>
                            <m:r>
                              <a:rPr lang="es-CL" sz="1400" b="1" i="1" smtClean="0">
                                <a:latin typeface="Cambria Math" panose="02040503050406030204" pitchFamily="18" charset="0"/>
                              </a:rPr>
                              <m:t>𝒓𝒆𝒇</m:t>
                            </m:r>
                          </m:sub>
                        </m:sSub>
                      </m:e>
                      <m:sub>
                        <m:r>
                          <a:rPr lang="es-CL" sz="1400" b="1" i="1" smtClean="0">
                            <a:latin typeface="Cambria Math" panose="02040503050406030204" pitchFamily="18" charset="0"/>
                          </a:rPr>
                          <m:t>𝒋</m:t>
                        </m:r>
                      </m:sub>
                    </m:sSub>
                  </m:oMath>
                </a14:m>
                <a:r>
                  <a:rPr lang="es-CL" sz="1400" b="1" i="1" dirty="0"/>
                  <a:t>: </a:t>
                </a:r>
                <a:r>
                  <a:rPr lang="en-US" sz="1400" dirty="0"/>
                  <a:t>benchmark energy performance standard established for year </a:t>
                </a:r>
                <a:r>
                  <a:rPr lang="en-US" sz="1400" i="1" dirty="0"/>
                  <a:t>j</a:t>
                </a:r>
                <a:r>
                  <a:rPr lang="en-US" sz="1400" dirty="0"/>
                  <a:t> in km/lge.</a:t>
                </a:r>
              </a:p>
              <a:p>
                <a:endParaRPr lang="de-DE" sz="1400" b="1" i="1" dirty="0">
                  <a:latin typeface="Cambria Math" panose="02040503050406030204" pitchFamily="18" charset="0"/>
                </a:endParaRPr>
              </a:p>
              <a:p>
                <a14:m>
                  <m:oMath xmlns:m="http://schemas.openxmlformats.org/officeDocument/2006/math">
                    <m:r>
                      <a:rPr lang="es-CL" sz="1400" b="1" i="1" smtClean="0">
                        <a:latin typeface="Cambria Math" panose="02040503050406030204" pitchFamily="18" charset="0"/>
                      </a:rPr>
                      <m:t>𝒂</m:t>
                    </m:r>
                  </m:oMath>
                </a14:m>
                <a:r>
                  <a:rPr lang="es-CL" sz="1400" b="1" dirty="0"/>
                  <a:t>: </a:t>
                </a:r>
                <a:r>
                  <a:rPr lang="en-US" sz="1400" dirty="0"/>
                  <a:t>slope representative of the market. For </a:t>
                </a:r>
                <a:r>
                  <a:rPr lang="en-US" sz="1400" b="1" dirty="0"/>
                  <a:t>light vehicles it is -0.0043 </a:t>
                </a:r>
                <a:r>
                  <a:rPr lang="en-US" sz="1400" dirty="0"/>
                  <a:t>and </a:t>
                </a:r>
                <a:r>
                  <a:rPr lang="en-US" sz="1400" b="1" dirty="0"/>
                  <a:t>for medium vehicles -0.0016 km/</a:t>
                </a:r>
                <a:r>
                  <a:rPr lang="en-US" sz="1400" b="1" dirty="0" err="1"/>
                  <a:t>lge</a:t>
                </a:r>
                <a:r>
                  <a:rPr lang="en-US" sz="1400" b="1" dirty="0"/>
                  <a:t>*kg</a:t>
                </a:r>
                <a:r>
                  <a:rPr lang="es-CL" sz="1400" b="1" dirty="0"/>
                  <a:t>.</a:t>
                </a:r>
              </a:p>
              <a:p>
                <a:endParaRPr lang="es-CL" sz="1400" dirty="0"/>
              </a:p>
              <a:p>
                <a14:m>
                  <m:oMath xmlns:m="http://schemas.openxmlformats.org/officeDocument/2006/math">
                    <m:sSub>
                      <m:sSubPr>
                        <m:ctrlPr>
                          <a:rPr lang="es-CL" sz="1400" b="1" i="1" smtClean="0">
                            <a:latin typeface="Cambria Math" panose="02040503050406030204" pitchFamily="18" charset="0"/>
                          </a:rPr>
                        </m:ctrlPr>
                      </m:sSubPr>
                      <m:e>
                        <m:r>
                          <a:rPr lang="es-CL" sz="1400" b="1" i="1" smtClean="0">
                            <a:latin typeface="Cambria Math" panose="02040503050406030204" pitchFamily="18" charset="0"/>
                          </a:rPr>
                          <m:t>𝑴</m:t>
                        </m:r>
                      </m:e>
                      <m:sub>
                        <m:sSub>
                          <m:sSubPr>
                            <m:ctrlPr>
                              <a:rPr lang="es-CL" sz="1400" b="1" i="1" smtClean="0">
                                <a:latin typeface="Cambria Math" panose="02040503050406030204" pitchFamily="18" charset="0"/>
                              </a:rPr>
                            </m:ctrlPr>
                          </m:sSubPr>
                          <m:e>
                            <m:r>
                              <a:rPr lang="es-CL" sz="1400" b="1" i="1" smtClean="0">
                                <a:latin typeface="Cambria Math" panose="02040503050406030204" pitchFamily="18" charset="0"/>
                              </a:rPr>
                              <m:t>𝒊</m:t>
                            </m:r>
                          </m:e>
                          <m:sub>
                            <m:r>
                              <a:rPr lang="es-CL" sz="1400" b="1" i="1" smtClean="0">
                                <a:latin typeface="Cambria Math" panose="02040503050406030204" pitchFamily="18" charset="0"/>
                              </a:rPr>
                              <m:t>𝒋</m:t>
                            </m:r>
                          </m:sub>
                        </m:sSub>
                      </m:sub>
                    </m:sSub>
                  </m:oMath>
                </a14:m>
                <a:r>
                  <a:rPr lang="es-CL" sz="1400" b="1" dirty="0"/>
                  <a:t>: </a:t>
                </a:r>
                <a:r>
                  <a:rPr lang="en-US" sz="1400" dirty="0"/>
                  <a:t>average reference mass measured in kg for responsible person </a:t>
                </a:r>
                <a:r>
                  <a:rPr lang="en-US" sz="1400" i="1" dirty="0" err="1"/>
                  <a:t>i</a:t>
                </a:r>
                <a:r>
                  <a:rPr lang="en-US" sz="1400" dirty="0"/>
                  <a:t> in year </a:t>
                </a:r>
                <a:r>
                  <a:rPr lang="en-US" sz="1400" i="1" dirty="0"/>
                  <a:t>j</a:t>
                </a:r>
                <a:r>
                  <a:rPr lang="en-US" sz="1400" dirty="0"/>
                  <a:t>.</a:t>
                </a:r>
              </a:p>
              <a:p>
                <a:endParaRPr lang="es-CL" sz="1400" dirty="0"/>
              </a:p>
              <a:p>
                <a14:m>
                  <m:oMath xmlns:m="http://schemas.openxmlformats.org/officeDocument/2006/math">
                    <m:sSub>
                      <m:sSubPr>
                        <m:ctrlPr>
                          <a:rPr lang="es-CL" sz="1400" b="1" i="1" smtClean="0">
                            <a:latin typeface="Cambria Math" panose="02040503050406030204" pitchFamily="18" charset="0"/>
                          </a:rPr>
                        </m:ctrlPr>
                      </m:sSubPr>
                      <m:e>
                        <m:r>
                          <a:rPr lang="es-CL" sz="1400" b="1" i="1" smtClean="0">
                            <a:latin typeface="Cambria Math" panose="02040503050406030204" pitchFamily="18" charset="0"/>
                          </a:rPr>
                          <m:t>𝑴</m:t>
                        </m:r>
                      </m:e>
                      <m:sub>
                        <m:r>
                          <a:rPr lang="es-CL" sz="1400" b="1" i="1" smtClean="0">
                            <a:latin typeface="Cambria Math" panose="02040503050406030204" pitchFamily="18" charset="0"/>
                          </a:rPr>
                          <m:t>𝟎</m:t>
                        </m:r>
                      </m:sub>
                    </m:sSub>
                  </m:oMath>
                </a14:m>
                <a:r>
                  <a:rPr lang="es-CL" sz="1400" b="1" dirty="0"/>
                  <a:t>: </a:t>
                </a:r>
                <a:r>
                  <a:rPr lang="en-US" sz="1400" dirty="0"/>
                  <a:t>representative reference mass of the market. In </a:t>
                </a:r>
                <a:r>
                  <a:rPr lang="en-US" sz="1400" b="1" dirty="0"/>
                  <a:t>light vehicles it is 1,375 </a:t>
                </a:r>
                <a:r>
                  <a:rPr lang="en-US" sz="1400" dirty="0"/>
                  <a:t>and in </a:t>
                </a:r>
                <a:r>
                  <a:rPr lang="en-US" sz="1400" b="1" dirty="0"/>
                  <a:t>medium</a:t>
                </a:r>
                <a:r>
                  <a:rPr lang="en-US" sz="1400" dirty="0"/>
                  <a:t> vehicles </a:t>
                </a:r>
                <a:r>
                  <a:rPr lang="en-US" sz="1400" b="1" dirty="0"/>
                  <a:t>it is 2,474 kg</a:t>
                </a:r>
                <a:r>
                  <a:rPr lang="es-CL" sz="1400" b="1" dirty="0"/>
                  <a:t>.</a:t>
                </a:r>
              </a:p>
              <a:p>
                <a:endParaRPr lang="es-CL" sz="1400" dirty="0"/>
              </a:p>
              <a:p>
                <a:endParaRPr lang="es-CL" sz="1400" dirty="0"/>
              </a:p>
            </p:txBody>
          </p:sp>
        </mc:Choice>
        <mc:Fallback>
          <p:sp>
            <p:nvSpPr>
              <p:cNvPr id="10" name="CuadroTexto 9">
                <a:extLst>
                  <a:ext uri="{FF2B5EF4-FFF2-40B4-BE49-F238E27FC236}">
                    <a16:creationId xmlns:a16="http://schemas.microsoft.com/office/drawing/2014/main" id="{62EB643B-3233-1E0B-B211-F4EEB300CCC2}"/>
                  </a:ext>
                </a:extLst>
              </p:cNvPr>
              <p:cNvSpPr txBox="1">
                <a:spLocks noRot="1" noChangeAspect="1" noMove="1" noResize="1" noEditPoints="1" noAdjustHandles="1" noChangeArrowheads="1" noChangeShapeType="1" noTextEdit="1"/>
              </p:cNvSpPr>
              <p:nvPr/>
            </p:nvSpPr>
            <p:spPr>
              <a:xfrm>
                <a:off x="1621408" y="3889233"/>
                <a:ext cx="10235629" cy="2846228"/>
              </a:xfrm>
              <a:prstGeom prst="rect">
                <a:avLst/>
              </a:prstGeom>
              <a:blipFill>
                <a:blip r:embed="rId6"/>
                <a:stretch>
                  <a:fillRect t="-642"/>
                </a:stretch>
              </a:blipFill>
            </p:spPr>
            <p:txBody>
              <a:bodyPr/>
              <a:lstStyle/>
              <a:p>
                <a:r>
                  <a:rPr lang="de-DE">
                    <a:noFill/>
                  </a:rPr>
                  <a:t> </a:t>
                </a:r>
              </a:p>
            </p:txBody>
          </p:sp>
        </mc:Fallback>
      </mc:AlternateContent>
    </p:spTree>
    <p:extLst>
      <p:ext uri="{BB962C8B-B14F-4D97-AF65-F5344CB8AC3E}">
        <p14:creationId xmlns:p14="http://schemas.microsoft.com/office/powerpoint/2010/main" val="258933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35331CE-5181-023E-AF63-08F929D71973}"/>
              </a:ext>
            </a:extLst>
          </p:cNvPr>
          <p:cNvSpPr>
            <a:spLocks noGrp="1"/>
          </p:cNvSpPr>
          <p:nvPr>
            <p:ph type="title"/>
          </p:nvPr>
        </p:nvSpPr>
        <p:spPr/>
        <p:txBody>
          <a:bodyPr/>
          <a:lstStyle/>
          <a:p>
            <a:r>
              <a:rPr lang="es-MX"/>
              <a:t>Agenda</a:t>
            </a:r>
            <a:endParaRPr lang="es-CL"/>
          </a:p>
        </p:txBody>
      </p:sp>
      <p:sp>
        <p:nvSpPr>
          <p:cNvPr id="3" name="Marcador de número de diapositiva 2">
            <a:extLst>
              <a:ext uri="{FF2B5EF4-FFF2-40B4-BE49-F238E27FC236}">
                <a16:creationId xmlns:a16="http://schemas.microsoft.com/office/drawing/2014/main" id="{7D88DB8F-340B-60C2-F0E6-EB2732129B34}"/>
              </a:ext>
            </a:extLst>
          </p:cNvPr>
          <p:cNvSpPr>
            <a:spLocks noGrp="1"/>
          </p:cNvSpPr>
          <p:nvPr>
            <p:ph type="sldNum" sz="quarter" idx="12"/>
          </p:nvPr>
        </p:nvSpPr>
        <p:spPr/>
        <p:txBody>
          <a:bodyPr/>
          <a:lstStyle/>
          <a:p>
            <a:r>
              <a:rPr lang="es-CL"/>
              <a:t>|   </a:t>
            </a:r>
            <a:fld id="{785CD681-51D3-414E-83F2-54688883A8C2}" type="slidenum">
              <a:rPr lang="es-CL" smtClean="0"/>
              <a:pPr/>
              <a:t>2</a:t>
            </a:fld>
            <a:endParaRPr lang="es-CL"/>
          </a:p>
        </p:txBody>
      </p:sp>
      <p:sp>
        <p:nvSpPr>
          <p:cNvPr id="4" name="Marcador de texto 3">
            <a:extLst>
              <a:ext uri="{FF2B5EF4-FFF2-40B4-BE49-F238E27FC236}">
                <a16:creationId xmlns:a16="http://schemas.microsoft.com/office/drawing/2014/main" id="{EDDBA926-50D0-7B0D-799E-61EF0A4F6794}"/>
              </a:ext>
            </a:extLst>
          </p:cNvPr>
          <p:cNvSpPr>
            <a:spLocks noGrp="1"/>
          </p:cNvSpPr>
          <p:nvPr>
            <p:ph type="body" sz="quarter" idx="13"/>
          </p:nvPr>
        </p:nvSpPr>
        <p:spPr/>
        <p:txBody>
          <a:bodyPr/>
          <a:lstStyle/>
          <a:p>
            <a:endParaRPr lang="es-MX"/>
          </a:p>
          <a:p>
            <a:endParaRPr lang="es-MX"/>
          </a:p>
          <a:p>
            <a:endParaRPr lang="es-CL"/>
          </a:p>
        </p:txBody>
      </p:sp>
      <p:graphicFrame>
        <p:nvGraphicFramePr>
          <p:cNvPr id="7" name="CuadroTexto 4">
            <a:extLst>
              <a:ext uri="{FF2B5EF4-FFF2-40B4-BE49-F238E27FC236}">
                <a16:creationId xmlns:a16="http://schemas.microsoft.com/office/drawing/2014/main" id="{269277E2-3B54-126B-D5D7-2CA7D23A3514}"/>
              </a:ext>
            </a:extLst>
          </p:cNvPr>
          <p:cNvGraphicFramePr/>
          <p:nvPr>
            <p:extLst>
              <p:ext uri="{D42A27DB-BD31-4B8C-83A1-F6EECF244321}">
                <p14:modId xmlns:p14="http://schemas.microsoft.com/office/powerpoint/2010/main" val="1135211167"/>
              </p:ext>
            </p:extLst>
          </p:nvPr>
        </p:nvGraphicFramePr>
        <p:xfrm>
          <a:off x="720090" y="1985645"/>
          <a:ext cx="10927080" cy="29546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48434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2FA191F1-75B6-410D-84CD-DCC46E3F9534}"/>
              </a:ext>
            </a:extLst>
          </p:cNvPr>
          <p:cNvSpPr>
            <a:spLocks noGrp="1"/>
          </p:cNvSpPr>
          <p:nvPr>
            <p:ph type="ftr" sz="quarter" idx="11"/>
          </p:nvPr>
        </p:nvSpPr>
        <p:spPr>
          <a:xfrm>
            <a:off x="6241370" y="6565207"/>
            <a:ext cx="5046214" cy="303426"/>
          </a:xfrm>
        </p:spPr>
        <p:txBody>
          <a:bodyPr/>
          <a:lstStyle/>
          <a:p>
            <a:endParaRPr lang="es-ES"/>
          </a:p>
        </p:txBody>
      </p:sp>
      <p:sp>
        <p:nvSpPr>
          <p:cNvPr id="3" name="Marcador de número de diapositiva 2">
            <a:extLst>
              <a:ext uri="{FF2B5EF4-FFF2-40B4-BE49-F238E27FC236}">
                <a16:creationId xmlns:a16="http://schemas.microsoft.com/office/drawing/2014/main" id="{48F27FFC-18C2-46A8-B3BF-A301A7D34E84}"/>
              </a:ext>
            </a:extLst>
          </p:cNvPr>
          <p:cNvSpPr>
            <a:spLocks noGrp="1"/>
          </p:cNvSpPr>
          <p:nvPr>
            <p:ph type="sldNum" sz="quarter" idx="12"/>
          </p:nvPr>
        </p:nvSpPr>
        <p:spPr/>
        <p:txBody>
          <a:bodyPr/>
          <a:lstStyle/>
          <a:p>
            <a:r>
              <a:rPr lang="es-CL"/>
              <a:t>|   </a:t>
            </a:r>
            <a:fld id="{785CD681-51D3-414E-83F2-54688883A8C2}" type="slidenum">
              <a:rPr lang="es-CL" dirty="0" smtClean="0"/>
              <a:pPr/>
              <a:t>20</a:t>
            </a:fld>
            <a:endParaRPr lang="es-CL"/>
          </a:p>
        </p:txBody>
      </p:sp>
      <p:sp>
        <p:nvSpPr>
          <p:cNvPr id="16" name="CuadroTexto 15">
            <a:extLst>
              <a:ext uri="{FF2B5EF4-FFF2-40B4-BE49-F238E27FC236}">
                <a16:creationId xmlns:a16="http://schemas.microsoft.com/office/drawing/2014/main" id="{62544903-651F-737A-3AA1-B8B68C6F3932}"/>
              </a:ext>
            </a:extLst>
          </p:cNvPr>
          <p:cNvSpPr txBox="1"/>
          <p:nvPr/>
        </p:nvSpPr>
        <p:spPr>
          <a:xfrm>
            <a:off x="464605" y="1486990"/>
            <a:ext cx="4553518" cy="646331"/>
          </a:xfrm>
          <a:prstGeom prst="rect">
            <a:avLst/>
          </a:prstGeom>
          <a:noFill/>
        </p:spPr>
        <p:txBody>
          <a:bodyPr wrap="square">
            <a:spAutoFit/>
          </a:bodyPr>
          <a:lstStyle/>
          <a:p>
            <a:pPr lvl="0" algn="ctr"/>
            <a:r>
              <a:rPr lang="en-US" b="1" dirty="0"/>
              <a:t>Article No. 7 Law 21.305 (2021)
Vehicle Efficiency Standard</a:t>
            </a:r>
            <a:endParaRPr lang="es-CL" dirty="0"/>
          </a:p>
        </p:txBody>
      </p:sp>
      <p:sp>
        <p:nvSpPr>
          <p:cNvPr id="4" name="Flecha: pentágono 3">
            <a:extLst>
              <a:ext uri="{FF2B5EF4-FFF2-40B4-BE49-F238E27FC236}">
                <a16:creationId xmlns:a16="http://schemas.microsoft.com/office/drawing/2014/main" id="{AF5C417E-BFD2-A184-AB50-93F5A2E586E3}"/>
              </a:ext>
            </a:extLst>
          </p:cNvPr>
          <p:cNvSpPr/>
          <p:nvPr/>
        </p:nvSpPr>
        <p:spPr>
          <a:xfrm>
            <a:off x="-1" y="471054"/>
            <a:ext cx="4641272" cy="775854"/>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a:t>Energy efficiency standards</a:t>
            </a:r>
            <a:endParaRPr lang="es-ES" sz="2000" dirty="0"/>
          </a:p>
        </p:txBody>
      </p:sp>
      <p:sp>
        <p:nvSpPr>
          <p:cNvPr id="5" name="Rectángulo 4" descr="Hoja contorno">
            <a:extLst>
              <a:ext uri="{FF2B5EF4-FFF2-40B4-BE49-F238E27FC236}">
                <a16:creationId xmlns:a16="http://schemas.microsoft.com/office/drawing/2014/main" id="{34C5249C-81F8-AF8F-78DB-C09AAFC3A4BD}"/>
              </a:ext>
            </a:extLst>
          </p:cNvPr>
          <p:cNvSpPr/>
          <p:nvPr/>
        </p:nvSpPr>
        <p:spPr>
          <a:xfrm>
            <a:off x="0" y="435704"/>
            <a:ext cx="717970" cy="717970"/>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s-CL"/>
          </a:p>
        </p:txBody>
      </p:sp>
      <p:grpSp>
        <p:nvGrpSpPr>
          <p:cNvPr id="17" name="3 Grupo">
            <a:extLst>
              <a:ext uri="{FF2B5EF4-FFF2-40B4-BE49-F238E27FC236}">
                <a16:creationId xmlns:a16="http://schemas.microsoft.com/office/drawing/2014/main" id="{C7966E23-B35D-7D52-314F-AD17782454FA}"/>
              </a:ext>
            </a:extLst>
          </p:cNvPr>
          <p:cNvGrpSpPr/>
          <p:nvPr/>
        </p:nvGrpSpPr>
        <p:grpSpPr>
          <a:xfrm>
            <a:off x="464605" y="2310155"/>
            <a:ext cx="4008680" cy="3302910"/>
            <a:chOff x="558385" y="2303103"/>
            <a:chExt cx="6048116" cy="4360750"/>
          </a:xfrm>
        </p:grpSpPr>
        <p:cxnSp>
          <p:nvCxnSpPr>
            <p:cNvPr id="18" name="4 Conector recto de flecha">
              <a:extLst>
                <a:ext uri="{FF2B5EF4-FFF2-40B4-BE49-F238E27FC236}">
                  <a16:creationId xmlns:a16="http://schemas.microsoft.com/office/drawing/2014/main" id="{2BE6B7D6-7F91-CE44-6474-366C224F9A42}"/>
                </a:ext>
              </a:extLst>
            </p:cNvPr>
            <p:cNvCxnSpPr>
              <a:cxnSpLocks/>
            </p:cNvCxnSpPr>
            <p:nvPr/>
          </p:nvCxnSpPr>
          <p:spPr>
            <a:xfrm flipV="1">
              <a:off x="1115617" y="2303103"/>
              <a:ext cx="0" cy="3996928"/>
            </a:xfrm>
            <a:prstGeom prst="straightConnector1">
              <a:avLst/>
            </a:prstGeom>
            <a:ln w="28575">
              <a:tailEnd type="arrow"/>
            </a:ln>
          </p:spPr>
          <p:style>
            <a:lnRef idx="2">
              <a:schemeClr val="dk1"/>
            </a:lnRef>
            <a:fillRef idx="0">
              <a:schemeClr val="dk1"/>
            </a:fillRef>
            <a:effectRef idx="1">
              <a:schemeClr val="dk1"/>
            </a:effectRef>
            <a:fontRef idx="minor">
              <a:schemeClr val="tx1"/>
            </a:fontRef>
          </p:style>
        </p:cxnSp>
        <p:sp>
          <p:nvSpPr>
            <p:cNvPr id="19" name="5 CuadroTexto">
              <a:extLst>
                <a:ext uri="{FF2B5EF4-FFF2-40B4-BE49-F238E27FC236}">
                  <a16:creationId xmlns:a16="http://schemas.microsoft.com/office/drawing/2014/main" id="{DF77B569-8364-4BA7-E258-383EEB481D0B}"/>
                </a:ext>
              </a:extLst>
            </p:cNvPr>
            <p:cNvSpPr txBox="1"/>
            <p:nvPr/>
          </p:nvSpPr>
          <p:spPr>
            <a:xfrm>
              <a:off x="558385" y="3961178"/>
              <a:ext cx="557232" cy="1896637"/>
            </a:xfrm>
            <a:prstGeom prst="rect">
              <a:avLst/>
            </a:prstGeom>
            <a:noFill/>
          </p:spPr>
          <p:txBody>
            <a:bodyPr vert="vert270" wrap="none" rtlCol="0">
              <a:spAutoFit/>
            </a:bodyPr>
            <a:lstStyle/>
            <a:p>
              <a:r>
                <a:rPr lang="es-ES" sz="1200">
                  <a:solidFill>
                    <a:srgbClr val="1F1F44"/>
                  </a:solidFill>
                  <a:latin typeface="Corbel" panose="020B0503020204020204" pitchFamily="34" charset="0"/>
                </a:rPr>
                <a:t>Energy Yield (km/lge)</a:t>
              </a:r>
              <a:endParaRPr lang="es-ES" sz="1200" dirty="0">
                <a:latin typeface="Corbel" panose="020B0503020204020204" pitchFamily="34" charset="0"/>
              </a:endParaRPr>
            </a:p>
          </p:txBody>
        </p:sp>
        <p:cxnSp>
          <p:nvCxnSpPr>
            <p:cNvPr id="20" name="6 Conector recto de flecha">
              <a:extLst>
                <a:ext uri="{FF2B5EF4-FFF2-40B4-BE49-F238E27FC236}">
                  <a16:creationId xmlns:a16="http://schemas.microsoft.com/office/drawing/2014/main" id="{123C54B5-A613-2464-5DFC-9CBA58FD2787}"/>
                </a:ext>
              </a:extLst>
            </p:cNvPr>
            <p:cNvCxnSpPr>
              <a:cxnSpLocks/>
            </p:cNvCxnSpPr>
            <p:nvPr/>
          </p:nvCxnSpPr>
          <p:spPr>
            <a:xfrm>
              <a:off x="1115617" y="6275863"/>
              <a:ext cx="5490884" cy="0"/>
            </a:xfrm>
            <a:prstGeom prst="straightConnector1">
              <a:avLst/>
            </a:prstGeom>
            <a:ln w="19050">
              <a:tailEnd type="arrow"/>
            </a:ln>
          </p:spPr>
          <p:style>
            <a:lnRef idx="2">
              <a:schemeClr val="dk1"/>
            </a:lnRef>
            <a:fillRef idx="0">
              <a:schemeClr val="dk1"/>
            </a:fillRef>
            <a:effectRef idx="1">
              <a:schemeClr val="dk1"/>
            </a:effectRef>
            <a:fontRef idx="minor">
              <a:schemeClr val="tx1"/>
            </a:fontRef>
          </p:style>
        </p:cxnSp>
        <p:sp>
          <p:nvSpPr>
            <p:cNvPr id="21" name="32 CuadroTexto">
              <a:extLst>
                <a:ext uri="{FF2B5EF4-FFF2-40B4-BE49-F238E27FC236}">
                  <a16:creationId xmlns:a16="http://schemas.microsoft.com/office/drawing/2014/main" id="{89608BF8-D221-A949-8107-CFE857138D01}"/>
                </a:ext>
              </a:extLst>
            </p:cNvPr>
            <p:cNvSpPr txBox="1"/>
            <p:nvPr/>
          </p:nvSpPr>
          <p:spPr>
            <a:xfrm>
              <a:off x="2076876" y="6298138"/>
              <a:ext cx="3367890" cy="365715"/>
            </a:xfrm>
            <a:prstGeom prst="rect">
              <a:avLst/>
            </a:prstGeom>
            <a:noFill/>
          </p:spPr>
          <p:txBody>
            <a:bodyPr vert="horz" wrap="square" rtlCol="0">
              <a:spAutoFit/>
            </a:bodyPr>
            <a:lstStyle/>
            <a:p>
              <a:pPr algn="ctr"/>
              <a:r>
                <a:rPr lang="es-ES" sz="1200">
                  <a:solidFill>
                    <a:srgbClr val="1F1F44"/>
                  </a:solidFill>
                  <a:latin typeface="Corbel" panose="020B0503020204020204" pitchFamily="34" charset="0"/>
                </a:rPr>
                <a:t>Reference mass (kg)</a:t>
              </a:r>
              <a:endParaRPr lang="es-ES" sz="1200" dirty="0">
                <a:solidFill>
                  <a:srgbClr val="1F1F44"/>
                </a:solidFill>
                <a:latin typeface="Corbel" panose="020B0503020204020204" pitchFamily="34" charset="0"/>
              </a:endParaRPr>
            </a:p>
          </p:txBody>
        </p:sp>
      </p:grpSp>
      <p:cxnSp>
        <p:nvCxnSpPr>
          <p:cNvPr id="22" name="56 Conector recto">
            <a:extLst>
              <a:ext uri="{FF2B5EF4-FFF2-40B4-BE49-F238E27FC236}">
                <a16:creationId xmlns:a16="http://schemas.microsoft.com/office/drawing/2014/main" id="{1DE50B1C-CD2F-C858-7F94-A5F6E6803371}"/>
              </a:ext>
            </a:extLst>
          </p:cNvPr>
          <p:cNvCxnSpPr>
            <a:cxnSpLocks/>
          </p:cNvCxnSpPr>
          <p:nvPr/>
        </p:nvCxnSpPr>
        <p:spPr>
          <a:xfrm>
            <a:off x="940832" y="3043782"/>
            <a:ext cx="2902478" cy="2013668"/>
          </a:xfrm>
          <a:prstGeom prst="line">
            <a:avLst/>
          </a:prstGeom>
          <a:ln>
            <a:solidFill>
              <a:srgbClr val="FF0000"/>
            </a:solidFill>
          </a:ln>
        </p:spPr>
        <p:style>
          <a:lnRef idx="3">
            <a:schemeClr val="accent2"/>
          </a:lnRef>
          <a:fillRef idx="0">
            <a:schemeClr val="accent2"/>
          </a:fillRef>
          <a:effectRef idx="2">
            <a:schemeClr val="accent2"/>
          </a:effectRef>
          <a:fontRef idx="minor">
            <a:schemeClr val="tx1"/>
          </a:fontRef>
        </p:style>
      </p:cxnSp>
      <p:sp>
        <p:nvSpPr>
          <p:cNvPr id="23" name="57 CuadroTexto">
            <a:extLst>
              <a:ext uri="{FF2B5EF4-FFF2-40B4-BE49-F238E27FC236}">
                <a16:creationId xmlns:a16="http://schemas.microsoft.com/office/drawing/2014/main" id="{44D66ECE-B618-2B50-2738-C4E8C93D7B6A}"/>
              </a:ext>
            </a:extLst>
          </p:cNvPr>
          <p:cNvSpPr txBox="1"/>
          <p:nvPr/>
        </p:nvSpPr>
        <p:spPr>
          <a:xfrm rot="2153689">
            <a:off x="1440521" y="4030550"/>
            <a:ext cx="2865958" cy="276999"/>
          </a:xfrm>
          <a:prstGeom prst="rect">
            <a:avLst/>
          </a:prstGeom>
          <a:noFill/>
        </p:spPr>
        <p:txBody>
          <a:bodyPr vert="horz" wrap="square" rtlCol="0">
            <a:spAutoFit/>
          </a:bodyPr>
          <a:lstStyle/>
          <a:p>
            <a:r>
              <a:rPr lang="es-ES" sz="1200" b="1">
                <a:solidFill>
                  <a:srgbClr val="1F1F44"/>
                </a:solidFill>
                <a:latin typeface="Lato" panose="020F0502020204030203"/>
              </a:rPr>
              <a:t>EE Standard Curve</a:t>
            </a:r>
            <a:endParaRPr lang="es-ES" sz="1200" b="1" dirty="0">
              <a:solidFill>
                <a:srgbClr val="1F1F44"/>
              </a:solidFill>
              <a:latin typeface="Lato" panose="020F0502020204030203"/>
            </a:endParaRPr>
          </a:p>
        </p:txBody>
      </p:sp>
      <p:sp>
        <p:nvSpPr>
          <p:cNvPr id="24" name="CuadroTexto 23">
            <a:extLst>
              <a:ext uri="{FF2B5EF4-FFF2-40B4-BE49-F238E27FC236}">
                <a16:creationId xmlns:a16="http://schemas.microsoft.com/office/drawing/2014/main" id="{10EA7DFC-5518-F236-CCA3-547D9B0B5E56}"/>
              </a:ext>
            </a:extLst>
          </p:cNvPr>
          <p:cNvSpPr txBox="1"/>
          <p:nvPr/>
        </p:nvSpPr>
        <p:spPr>
          <a:xfrm>
            <a:off x="2132980" y="2887119"/>
            <a:ext cx="2059598" cy="646331"/>
          </a:xfrm>
          <a:prstGeom prst="rect">
            <a:avLst/>
          </a:prstGeom>
          <a:noFill/>
        </p:spPr>
        <p:txBody>
          <a:bodyPr wrap="square" lIns="91440" tIns="45720" rIns="91440" bIns="45720" anchor="t">
            <a:spAutoFit/>
          </a:bodyPr>
          <a:lstStyle/>
          <a:p>
            <a:pPr algn="r"/>
            <a:r>
              <a:rPr lang="es-CL" b="1" dirty="0" err="1">
                <a:solidFill>
                  <a:schemeClr val="tx1">
                    <a:lumMod val="75000"/>
                    <a:lumOff val="25000"/>
                  </a:schemeClr>
                </a:solidFill>
                <a:sym typeface="Arial"/>
              </a:rPr>
              <a:t>Compliance</a:t>
            </a:r>
            <a:r>
              <a:rPr lang="es-CL" b="1" dirty="0">
                <a:solidFill>
                  <a:schemeClr val="tx1">
                    <a:lumMod val="75000"/>
                    <a:lumOff val="25000"/>
                  </a:schemeClr>
                </a:solidFill>
                <a:sym typeface="Arial"/>
              </a:rPr>
              <a:t> </a:t>
            </a:r>
            <a:r>
              <a:rPr lang="es-CL" b="1" dirty="0" err="1">
                <a:solidFill>
                  <a:schemeClr val="tx1">
                    <a:lumMod val="75000"/>
                    <a:lumOff val="25000"/>
                  </a:schemeClr>
                </a:solidFill>
                <a:sym typeface="Arial"/>
              </a:rPr>
              <a:t>Zone</a:t>
            </a:r>
            <a:endParaRPr lang="es-CL" dirty="0">
              <a:solidFill>
                <a:schemeClr val="tx1">
                  <a:lumMod val="75000"/>
                  <a:lumOff val="25000"/>
                </a:schemeClr>
              </a:solidFill>
            </a:endParaRPr>
          </a:p>
        </p:txBody>
      </p:sp>
      <p:sp>
        <p:nvSpPr>
          <p:cNvPr id="25" name="CuadroTexto 24">
            <a:extLst>
              <a:ext uri="{FF2B5EF4-FFF2-40B4-BE49-F238E27FC236}">
                <a16:creationId xmlns:a16="http://schemas.microsoft.com/office/drawing/2014/main" id="{851114CC-7CD2-22CD-BE17-E9B2DE94C149}"/>
              </a:ext>
            </a:extLst>
          </p:cNvPr>
          <p:cNvSpPr txBox="1"/>
          <p:nvPr/>
        </p:nvSpPr>
        <p:spPr>
          <a:xfrm>
            <a:off x="998845" y="4300764"/>
            <a:ext cx="2484102" cy="646331"/>
          </a:xfrm>
          <a:prstGeom prst="rect">
            <a:avLst/>
          </a:prstGeom>
          <a:noFill/>
        </p:spPr>
        <p:txBody>
          <a:bodyPr wrap="square" lIns="91440" tIns="45720" rIns="91440" bIns="45720" anchor="t">
            <a:spAutoFit/>
          </a:bodyPr>
          <a:lstStyle/>
          <a:p>
            <a:r>
              <a:rPr lang="es-CL" b="1">
                <a:solidFill>
                  <a:srgbClr val="FF0000"/>
                </a:solidFill>
                <a:sym typeface="Arial"/>
              </a:rPr>
              <a:t>Non-compliance zone</a:t>
            </a:r>
            <a:endParaRPr lang="es-CL">
              <a:solidFill>
                <a:srgbClr val="FF0000"/>
              </a:solidFill>
            </a:endParaRPr>
          </a:p>
        </p:txBody>
      </p:sp>
      <p:sp>
        <p:nvSpPr>
          <p:cNvPr id="8" name="Rectángulo 7">
            <a:extLst>
              <a:ext uri="{FF2B5EF4-FFF2-40B4-BE49-F238E27FC236}">
                <a16:creationId xmlns:a16="http://schemas.microsoft.com/office/drawing/2014/main" id="{FFED27FF-D6CD-4D09-D9B6-FFF4C05F3B1F}"/>
              </a:ext>
            </a:extLst>
          </p:cNvPr>
          <p:cNvSpPr/>
          <p:nvPr/>
        </p:nvSpPr>
        <p:spPr>
          <a:xfrm>
            <a:off x="6096000" y="3121637"/>
            <a:ext cx="4882896" cy="61472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s-CL"/>
          </a:p>
        </p:txBody>
      </p:sp>
      <mc:AlternateContent xmlns:mc="http://schemas.openxmlformats.org/markup-compatibility/2006" xmlns:a14="http://schemas.microsoft.com/office/drawing/2010/main">
        <mc:Choice Requires="a14">
          <p:sp>
            <p:nvSpPr>
              <p:cNvPr id="9" name="CuadroTexto 8">
                <a:extLst>
                  <a:ext uri="{FF2B5EF4-FFF2-40B4-BE49-F238E27FC236}">
                    <a16:creationId xmlns:a16="http://schemas.microsoft.com/office/drawing/2014/main" id="{59450D87-9D6B-74E4-4E5E-E8FE23B7C09C}"/>
                  </a:ext>
                </a:extLst>
              </p:cNvPr>
              <p:cNvSpPr txBox="1"/>
              <p:nvPr/>
            </p:nvSpPr>
            <p:spPr>
              <a:xfrm>
                <a:off x="6241370" y="3244911"/>
                <a:ext cx="4592155" cy="36817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CL" b="0" i="1" smtClean="0">
                          <a:latin typeface="Cambria Math" panose="02040503050406030204" pitchFamily="18" charset="0"/>
                        </a:rPr>
                        <m:t>𝐸𝑠𝑡</m:t>
                      </m:r>
                      <m:r>
                        <a:rPr lang="es-CL" b="0" i="1" smtClean="0">
                          <a:latin typeface="Cambria Math" panose="02040503050406030204" pitchFamily="18" charset="0"/>
                        </a:rPr>
                        <m:t>á</m:t>
                      </m:r>
                      <m:r>
                        <a:rPr lang="es-CL" b="0" i="1" smtClean="0">
                          <a:latin typeface="Cambria Math" panose="02040503050406030204" pitchFamily="18" charset="0"/>
                        </a:rPr>
                        <m:t>𝑛𝑑𝑎</m:t>
                      </m:r>
                      <m:sSub>
                        <m:sSubPr>
                          <m:ctrlPr>
                            <a:rPr lang="es-CL" b="0" i="1" smtClean="0">
                              <a:latin typeface="Cambria Math" panose="02040503050406030204" pitchFamily="18" charset="0"/>
                            </a:rPr>
                          </m:ctrlPr>
                        </m:sSubPr>
                        <m:e>
                          <m:sSub>
                            <m:sSubPr>
                              <m:ctrlPr>
                                <a:rPr lang="es-CL" b="0" i="1" smtClean="0">
                                  <a:latin typeface="Cambria Math" panose="02040503050406030204" pitchFamily="18" charset="0"/>
                                </a:rPr>
                              </m:ctrlPr>
                            </m:sSubPr>
                            <m:e>
                              <m:r>
                                <a:rPr lang="es-CL" b="0" i="1" smtClean="0">
                                  <a:latin typeface="Cambria Math" panose="02040503050406030204" pitchFamily="18" charset="0"/>
                                </a:rPr>
                                <m:t>𝑟</m:t>
                              </m:r>
                            </m:e>
                            <m:sub>
                              <m:r>
                                <a:rPr lang="es-CL" b="0" i="1" smtClean="0">
                                  <a:latin typeface="Cambria Math" panose="02040503050406030204" pitchFamily="18" charset="0"/>
                                </a:rPr>
                                <m:t>𝑖</m:t>
                              </m:r>
                            </m:sub>
                          </m:sSub>
                        </m:e>
                        <m:sub>
                          <m:r>
                            <a:rPr lang="es-CL" b="0" i="1" smtClean="0">
                              <a:latin typeface="Cambria Math" panose="02040503050406030204" pitchFamily="18" charset="0"/>
                            </a:rPr>
                            <m:t>𝑗</m:t>
                          </m:r>
                        </m:sub>
                      </m:sSub>
                      <m:r>
                        <a:rPr lang="es-CL" b="0" i="1" smtClean="0">
                          <a:latin typeface="Cambria Math" panose="02040503050406030204" pitchFamily="18" charset="0"/>
                        </a:rPr>
                        <m:t>=</m:t>
                      </m:r>
                      <m:r>
                        <a:rPr lang="es-CL" b="0" i="1" smtClean="0">
                          <a:latin typeface="Cambria Math" panose="02040503050406030204" pitchFamily="18" charset="0"/>
                        </a:rPr>
                        <m:t>𝐸𝑠𝑡</m:t>
                      </m:r>
                      <m:r>
                        <a:rPr lang="es-CL" b="0" i="1" smtClean="0">
                          <a:latin typeface="Cambria Math" panose="02040503050406030204" pitchFamily="18" charset="0"/>
                        </a:rPr>
                        <m:t>á</m:t>
                      </m:r>
                      <m:r>
                        <a:rPr lang="es-CL" b="0" i="1" smtClean="0">
                          <a:latin typeface="Cambria Math" panose="02040503050406030204" pitchFamily="18" charset="0"/>
                        </a:rPr>
                        <m:t>𝑛𝑑𝑎</m:t>
                      </m:r>
                      <m:sSub>
                        <m:sSubPr>
                          <m:ctrlPr>
                            <a:rPr lang="es-CL" b="0" i="1" smtClean="0">
                              <a:latin typeface="Cambria Math" panose="02040503050406030204" pitchFamily="18" charset="0"/>
                            </a:rPr>
                          </m:ctrlPr>
                        </m:sSubPr>
                        <m:e>
                          <m:sSub>
                            <m:sSubPr>
                              <m:ctrlPr>
                                <a:rPr lang="es-CL" b="0" i="1" smtClean="0">
                                  <a:latin typeface="Cambria Math" panose="02040503050406030204" pitchFamily="18" charset="0"/>
                                </a:rPr>
                              </m:ctrlPr>
                            </m:sSubPr>
                            <m:e>
                              <m:r>
                                <a:rPr lang="es-CL" b="0" i="1" smtClean="0">
                                  <a:latin typeface="Cambria Math" panose="02040503050406030204" pitchFamily="18" charset="0"/>
                                </a:rPr>
                                <m:t>𝑟</m:t>
                              </m:r>
                            </m:e>
                            <m:sub>
                              <m:r>
                                <a:rPr lang="es-CL" b="0" i="1" smtClean="0">
                                  <a:latin typeface="Cambria Math" panose="02040503050406030204" pitchFamily="18" charset="0"/>
                                </a:rPr>
                                <m:t>𝑟𝑒𝑓</m:t>
                              </m:r>
                            </m:sub>
                          </m:sSub>
                        </m:e>
                        <m:sub>
                          <m:r>
                            <a:rPr lang="es-CL" b="0" i="1" smtClean="0">
                              <a:latin typeface="Cambria Math" panose="02040503050406030204" pitchFamily="18" charset="0"/>
                            </a:rPr>
                            <m:t>𝑗</m:t>
                          </m:r>
                        </m:sub>
                      </m:sSub>
                      <m:r>
                        <a:rPr lang="es-CL" b="0" i="1" smtClean="0">
                          <a:latin typeface="Cambria Math" panose="02040503050406030204" pitchFamily="18" charset="0"/>
                        </a:rPr>
                        <m:t>+</m:t>
                      </m:r>
                      <m:r>
                        <a:rPr lang="es-CL" b="0" i="1" smtClean="0">
                          <a:latin typeface="Cambria Math" panose="02040503050406030204" pitchFamily="18" charset="0"/>
                        </a:rPr>
                        <m:t>𝑎</m:t>
                      </m:r>
                      <m:r>
                        <a:rPr lang="es-CL" b="0" i="1" smtClean="0">
                          <a:latin typeface="Cambria Math" panose="02040503050406030204" pitchFamily="18" charset="0"/>
                        </a:rPr>
                        <m:t> ∗(</m:t>
                      </m:r>
                      <m:sSub>
                        <m:sSubPr>
                          <m:ctrlPr>
                            <a:rPr lang="es-CL" b="0" i="1" smtClean="0">
                              <a:latin typeface="Cambria Math" panose="02040503050406030204" pitchFamily="18" charset="0"/>
                            </a:rPr>
                          </m:ctrlPr>
                        </m:sSubPr>
                        <m:e>
                          <m:r>
                            <a:rPr lang="es-CL" b="0" i="1" smtClean="0">
                              <a:latin typeface="Cambria Math" panose="02040503050406030204" pitchFamily="18" charset="0"/>
                            </a:rPr>
                            <m:t>𝑀</m:t>
                          </m:r>
                        </m:e>
                        <m:sub>
                          <m:sSub>
                            <m:sSubPr>
                              <m:ctrlPr>
                                <a:rPr lang="es-CL" b="0" i="1" smtClean="0">
                                  <a:latin typeface="Cambria Math" panose="02040503050406030204" pitchFamily="18" charset="0"/>
                                </a:rPr>
                              </m:ctrlPr>
                            </m:sSubPr>
                            <m:e>
                              <m:r>
                                <a:rPr lang="es-CL" b="0" i="1" smtClean="0">
                                  <a:latin typeface="Cambria Math" panose="02040503050406030204" pitchFamily="18" charset="0"/>
                                </a:rPr>
                                <m:t>𝑖</m:t>
                              </m:r>
                            </m:e>
                            <m:sub>
                              <m:r>
                                <a:rPr lang="es-CL" b="0" i="1" smtClean="0">
                                  <a:latin typeface="Cambria Math" panose="02040503050406030204" pitchFamily="18" charset="0"/>
                                </a:rPr>
                                <m:t>𝑗</m:t>
                              </m:r>
                            </m:sub>
                          </m:sSub>
                        </m:sub>
                      </m:sSub>
                      <m:r>
                        <a:rPr lang="es-CL" b="0" i="1" smtClean="0">
                          <a:latin typeface="Cambria Math" panose="02040503050406030204" pitchFamily="18" charset="0"/>
                        </a:rPr>
                        <m:t>−</m:t>
                      </m:r>
                      <m:sSub>
                        <m:sSubPr>
                          <m:ctrlPr>
                            <a:rPr lang="es-CL" b="0" i="1" smtClean="0">
                              <a:latin typeface="Cambria Math" panose="02040503050406030204" pitchFamily="18" charset="0"/>
                            </a:rPr>
                          </m:ctrlPr>
                        </m:sSubPr>
                        <m:e>
                          <m:r>
                            <a:rPr lang="es-CL" b="0" i="1" smtClean="0">
                              <a:latin typeface="Cambria Math" panose="02040503050406030204" pitchFamily="18" charset="0"/>
                            </a:rPr>
                            <m:t>𝑀</m:t>
                          </m:r>
                        </m:e>
                        <m:sub>
                          <m:r>
                            <a:rPr lang="es-CL" b="0" i="1" smtClean="0">
                              <a:latin typeface="Cambria Math" panose="02040503050406030204" pitchFamily="18" charset="0"/>
                            </a:rPr>
                            <m:t>0</m:t>
                          </m:r>
                        </m:sub>
                      </m:sSub>
                      <m:r>
                        <a:rPr lang="es-CL" b="0" i="1" smtClean="0">
                          <a:latin typeface="Cambria Math" panose="02040503050406030204" pitchFamily="18" charset="0"/>
                        </a:rPr>
                        <m:t>)</m:t>
                      </m:r>
                    </m:oMath>
                  </m:oMathPara>
                </a14:m>
                <a:endParaRPr lang="es-CL"/>
              </a:p>
            </p:txBody>
          </p:sp>
        </mc:Choice>
        <mc:Fallback xmlns="">
          <p:sp>
            <p:nvSpPr>
              <p:cNvPr id="9" name="CuadroTexto 8">
                <a:extLst>
                  <a:ext uri="{FF2B5EF4-FFF2-40B4-BE49-F238E27FC236}">
                    <a16:creationId xmlns:a16="http://schemas.microsoft.com/office/drawing/2014/main" id="{59450D87-9D6B-74E4-4E5E-E8FE23B7C09C}"/>
                  </a:ext>
                </a:extLst>
              </p:cNvPr>
              <p:cNvSpPr txBox="1">
                <a:spLocks noRot="1" noChangeAspect="1" noMove="1" noResize="1" noEditPoints="1" noAdjustHandles="1" noChangeArrowheads="1" noChangeShapeType="1" noTextEdit="1"/>
              </p:cNvSpPr>
              <p:nvPr/>
            </p:nvSpPr>
            <p:spPr>
              <a:xfrm>
                <a:off x="6241370" y="3244911"/>
                <a:ext cx="4592155" cy="368178"/>
              </a:xfrm>
              <a:prstGeom prst="rect">
                <a:avLst/>
              </a:prstGeom>
              <a:blipFill>
                <a:blip r:embed="rId5"/>
                <a:stretch>
                  <a:fillRect l="-531" r="-1062" b="-21311"/>
                </a:stretch>
              </a:blipFill>
            </p:spPr>
            <p:txBody>
              <a:bodyPr/>
              <a:lstStyle/>
              <a:p>
                <a:r>
                  <a:rPr lang="en-US">
                    <a:noFill/>
                  </a:rPr>
                  <a:t> </a:t>
                </a:r>
              </a:p>
            </p:txBody>
          </p:sp>
        </mc:Fallback>
      </mc:AlternateContent>
    </p:spTree>
    <p:extLst>
      <p:ext uri="{BB962C8B-B14F-4D97-AF65-F5344CB8AC3E}">
        <p14:creationId xmlns:p14="http://schemas.microsoft.com/office/powerpoint/2010/main" val="235681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2FA191F1-75B6-410D-84CD-DCC46E3F9534}"/>
              </a:ext>
            </a:extLst>
          </p:cNvPr>
          <p:cNvSpPr>
            <a:spLocks noGrp="1"/>
          </p:cNvSpPr>
          <p:nvPr>
            <p:ph type="ftr" sz="quarter" idx="11"/>
          </p:nvPr>
        </p:nvSpPr>
        <p:spPr>
          <a:xfrm>
            <a:off x="6292218" y="6561138"/>
            <a:ext cx="5046214" cy="303426"/>
          </a:xfrm>
        </p:spPr>
        <p:txBody>
          <a:bodyPr/>
          <a:lstStyle/>
          <a:p>
            <a:endParaRPr lang="es-ES"/>
          </a:p>
        </p:txBody>
      </p:sp>
      <p:sp>
        <p:nvSpPr>
          <p:cNvPr id="3" name="Marcador de número de diapositiva 2">
            <a:extLst>
              <a:ext uri="{FF2B5EF4-FFF2-40B4-BE49-F238E27FC236}">
                <a16:creationId xmlns:a16="http://schemas.microsoft.com/office/drawing/2014/main" id="{48F27FFC-18C2-46A8-B3BF-A301A7D34E84}"/>
              </a:ext>
            </a:extLst>
          </p:cNvPr>
          <p:cNvSpPr>
            <a:spLocks noGrp="1"/>
          </p:cNvSpPr>
          <p:nvPr>
            <p:ph type="sldNum" sz="quarter" idx="12"/>
          </p:nvPr>
        </p:nvSpPr>
        <p:spPr/>
        <p:txBody>
          <a:bodyPr/>
          <a:lstStyle/>
          <a:p>
            <a:r>
              <a:rPr lang="es-CL"/>
              <a:t>|   </a:t>
            </a:r>
            <a:fld id="{785CD681-51D3-414E-83F2-54688883A8C2}" type="slidenum">
              <a:rPr lang="es-CL" dirty="0" smtClean="0"/>
              <a:pPr/>
              <a:t>21</a:t>
            </a:fld>
            <a:endParaRPr lang="es-CL"/>
          </a:p>
        </p:txBody>
      </p:sp>
      <p:sp>
        <p:nvSpPr>
          <p:cNvPr id="4" name="Flecha: pentágono 3">
            <a:extLst>
              <a:ext uri="{FF2B5EF4-FFF2-40B4-BE49-F238E27FC236}">
                <a16:creationId xmlns:a16="http://schemas.microsoft.com/office/drawing/2014/main" id="{AF5C417E-BFD2-A184-AB50-93F5A2E586E3}"/>
              </a:ext>
            </a:extLst>
          </p:cNvPr>
          <p:cNvSpPr/>
          <p:nvPr/>
        </p:nvSpPr>
        <p:spPr>
          <a:xfrm>
            <a:off x="-1" y="471054"/>
            <a:ext cx="4641272" cy="775854"/>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a:t>Energy efficiency standards</a:t>
            </a:r>
            <a:endParaRPr lang="es-ES" sz="2000" dirty="0"/>
          </a:p>
        </p:txBody>
      </p:sp>
      <p:sp>
        <p:nvSpPr>
          <p:cNvPr id="5" name="Rectángulo 4" descr="Hoja contorno">
            <a:extLst>
              <a:ext uri="{FF2B5EF4-FFF2-40B4-BE49-F238E27FC236}">
                <a16:creationId xmlns:a16="http://schemas.microsoft.com/office/drawing/2014/main" id="{34C5249C-81F8-AF8F-78DB-C09AAFC3A4BD}"/>
              </a:ext>
            </a:extLst>
          </p:cNvPr>
          <p:cNvSpPr/>
          <p:nvPr/>
        </p:nvSpPr>
        <p:spPr>
          <a:xfrm>
            <a:off x="0" y="435704"/>
            <a:ext cx="717970" cy="717970"/>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s-CL"/>
          </a:p>
        </p:txBody>
      </p:sp>
      <p:sp>
        <p:nvSpPr>
          <p:cNvPr id="26" name="AutoShape 8" descr="gota de agua - Iconos gratis de naturaleza">
            <a:extLst>
              <a:ext uri="{FF2B5EF4-FFF2-40B4-BE49-F238E27FC236}">
                <a16:creationId xmlns:a16="http://schemas.microsoft.com/office/drawing/2014/main" id="{FFF98357-9976-0D7E-911C-F176AAFA3A33}"/>
              </a:ext>
            </a:extLst>
          </p:cNvPr>
          <p:cNvSpPr>
            <a:spLocks noChangeAspect="1" noChangeArrowheads="1"/>
          </p:cNvSpPr>
          <p:nvPr/>
        </p:nvSpPr>
        <p:spPr bwMode="auto">
          <a:xfrm>
            <a:off x="5236529" y="272774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a:p>
        </p:txBody>
      </p:sp>
      <p:sp>
        <p:nvSpPr>
          <p:cNvPr id="27" name="Rectangle 1">
            <a:extLst>
              <a:ext uri="{FF2B5EF4-FFF2-40B4-BE49-F238E27FC236}">
                <a16:creationId xmlns:a16="http://schemas.microsoft.com/office/drawing/2014/main" id="{6B3A1DEA-6583-10E4-6C1A-DF1D27D014E3}"/>
              </a:ext>
            </a:extLst>
          </p:cNvPr>
          <p:cNvSpPr>
            <a:spLocks noChangeArrowheads="1"/>
          </p:cNvSpPr>
          <p:nvPr/>
        </p:nvSpPr>
        <p:spPr bwMode="auto">
          <a:xfrm>
            <a:off x="531446" y="2892613"/>
            <a:ext cx="1071235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altLang="es-CL" sz="1800" b="0" i="0" u="none" strike="noStrike" cap="none" normalizeH="0" baseline="0">
                <a:ln>
                  <a:noFill/>
                </a:ln>
                <a:solidFill>
                  <a:srgbClr val="000000"/>
                </a:solidFill>
                <a:effectLst/>
                <a:latin typeface="Times New Roman" panose="02020603050405020304" pitchFamily="18" charset="0"/>
              </a:rPr>
              <a:t> </a:t>
            </a:r>
            <a:endParaRPr kumimoji="0" lang="es-CL" altLang="es-CL"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CL" altLang="es-CL" sz="1800" b="0" i="0" u="none" strike="noStrike" cap="none" normalizeH="0" baseline="0">
              <a:ln>
                <a:noFill/>
              </a:ln>
              <a:solidFill>
                <a:schemeClr val="tx1"/>
              </a:solidFill>
              <a:effectLst/>
              <a:latin typeface="Arial" panose="020B0604020202020204" pitchFamily="34" charset="0"/>
            </a:endParaRPr>
          </a:p>
        </p:txBody>
      </p:sp>
      <p:sp>
        <p:nvSpPr>
          <p:cNvPr id="28" name="AutoShape 8" descr="gota de agua - Iconos gratis de naturaleza">
            <a:extLst>
              <a:ext uri="{FF2B5EF4-FFF2-40B4-BE49-F238E27FC236}">
                <a16:creationId xmlns:a16="http://schemas.microsoft.com/office/drawing/2014/main" id="{FC74C016-609C-2337-B062-2FD086BDF3E8}"/>
              </a:ext>
            </a:extLst>
          </p:cNvPr>
          <p:cNvSpPr>
            <a:spLocks noChangeAspect="1" noChangeArrowheads="1"/>
          </p:cNvSpPr>
          <p:nvPr/>
        </p:nvSpPr>
        <p:spPr bwMode="auto">
          <a:xfrm>
            <a:off x="5545925" y="512583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a:p>
        </p:txBody>
      </p:sp>
      <p:sp>
        <p:nvSpPr>
          <p:cNvPr id="29" name="Rectángulo: esquinas redondeadas 28">
            <a:extLst>
              <a:ext uri="{FF2B5EF4-FFF2-40B4-BE49-F238E27FC236}">
                <a16:creationId xmlns:a16="http://schemas.microsoft.com/office/drawing/2014/main" id="{BB807259-4750-0F44-78CC-6B2DA05F85F8}"/>
              </a:ext>
            </a:extLst>
          </p:cNvPr>
          <p:cNvSpPr/>
          <p:nvPr/>
        </p:nvSpPr>
        <p:spPr>
          <a:xfrm>
            <a:off x="5817062" y="2118422"/>
            <a:ext cx="2530826" cy="155777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r>
              <a:rPr lang="en-US" dirty="0"/>
              <a:t>Calculation of the importer's average performance</a:t>
            </a:r>
          </a:p>
        </p:txBody>
      </p:sp>
      <p:sp>
        <p:nvSpPr>
          <p:cNvPr id="30" name="Rectángulo: esquinas redondeadas 29">
            <a:extLst>
              <a:ext uri="{FF2B5EF4-FFF2-40B4-BE49-F238E27FC236}">
                <a16:creationId xmlns:a16="http://schemas.microsoft.com/office/drawing/2014/main" id="{C99204AE-D2D4-E4C1-A0E2-A98C3E2D7C74}"/>
              </a:ext>
            </a:extLst>
          </p:cNvPr>
          <p:cNvSpPr/>
          <p:nvPr/>
        </p:nvSpPr>
        <p:spPr>
          <a:xfrm>
            <a:off x="3122335" y="4246092"/>
            <a:ext cx="2038659" cy="155854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Calculation of 
the average reference mass 
of the importer</a:t>
            </a:r>
            <a:endParaRPr lang="es-CL" dirty="0"/>
          </a:p>
        </p:txBody>
      </p:sp>
      <p:sp>
        <p:nvSpPr>
          <p:cNvPr id="31" name="Rectángulo: esquinas redondeadas 30">
            <a:extLst>
              <a:ext uri="{FF2B5EF4-FFF2-40B4-BE49-F238E27FC236}">
                <a16:creationId xmlns:a16="http://schemas.microsoft.com/office/drawing/2014/main" id="{16870CC0-75AD-D82C-657B-D6AB3312ACE7}"/>
              </a:ext>
            </a:extLst>
          </p:cNvPr>
          <p:cNvSpPr/>
          <p:nvPr/>
        </p:nvSpPr>
        <p:spPr>
          <a:xfrm>
            <a:off x="5842234" y="4170993"/>
            <a:ext cx="2489594" cy="157273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Calculation of the standard of each importer</a:t>
            </a:r>
            <a:endParaRPr lang="es-CL" b="1" dirty="0"/>
          </a:p>
        </p:txBody>
      </p:sp>
      <p:sp>
        <p:nvSpPr>
          <p:cNvPr id="32" name="Rectángulo: esquinas redondeadas 31">
            <a:extLst>
              <a:ext uri="{FF2B5EF4-FFF2-40B4-BE49-F238E27FC236}">
                <a16:creationId xmlns:a16="http://schemas.microsoft.com/office/drawing/2014/main" id="{51DB0F1B-7FD0-8FDC-398D-027D26C844C4}"/>
              </a:ext>
            </a:extLst>
          </p:cNvPr>
          <p:cNvSpPr/>
          <p:nvPr/>
        </p:nvSpPr>
        <p:spPr>
          <a:xfrm>
            <a:off x="9353067" y="3289353"/>
            <a:ext cx="2518348" cy="118454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dirty="0"/>
              <a:t>Calculation of the 
Fine or Credit</a:t>
            </a:r>
            <a:endParaRPr lang="es-CL" b="1" dirty="0"/>
          </a:p>
        </p:txBody>
      </p:sp>
      <p:cxnSp>
        <p:nvCxnSpPr>
          <p:cNvPr id="35" name="Conector recto de flecha 34">
            <a:extLst>
              <a:ext uri="{FF2B5EF4-FFF2-40B4-BE49-F238E27FC236}">
                <a16:creationId xmlns:a16="http://schemas.microsoft.com/office/drawing/2014/main" id="{743A5950-85E2-0D58-52B3-E56243180A3E}"/>
              </a:ext>
            </a:extLst>
          </p:cNvPr>
          <p:cNvCxnSpPr>
            <a:stCxn id="31" idx="3"/>
            <a:endCxn id="32" idx="1"/>
          </p:cNvCxnSpPr>
          <p:nvPr/>
        </p:nvCxnSpPr>
        <p:spPr>
          <a:xfrm flipV="1">
            <a:off x="8331828" y="3881625"/>
            <a:ext cx="1021239" cy="10757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Rectángulo: esquinas redondeadas 35">
            <a:extLst>
              <a:ext uri="{FF2B5EF4-FFF2-40B4-BE49-F238E27FC236}">
                <a16:creationId xmlns:a16="http://schemas.microsoft.com/office/drawing/2014/main" id="{7CFC2B0A-9B6D-D2C0-03F4-1BD8CF18933E}"/>
              </a:ext>
            </a:extLst>
          </p:cNvPr>
          <p:cNvSpPr/>
          <p:nvPr/>
        </p:nvSpPr>
        <p:spPr>
          <a:xfrm>
            <a:off x="403123" y="2121242"/>
            <a:ext cx="2304593" cy="1558544"/>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a:t>Calculation of the equivalent performance of each approved vehicle</a:t>
            </a:r>
            <a:endParaRPr lang="es-CL" b="1" dirty="0"/>
          </a:p>
        </p:txBody>
      </p:sp>
      <p:sp>
        <p:nvSpPr>
          <p:cNvPr id="37" name="Rectángulo: esquinas redondeadas 36">
            <a:extLst>
              <a:ext uri="{FF2B5EF4-FFF2-40B4-BE49-F238E27FC236}">
                <a16:creationId xmlns:a16="http://schemas.microsoft.com/office/drawing/2014/main" id="{0AB1C449-CA66-21F9-91EE-00CCCFAC99CE}"/>
              </a:ext>
            </a:extLst>
          </p:cNvPr>
          <p:cNvSpPr/>
          <p:nvPr/>
        </p:nvSpPr>
        <p:spPr>
          <a:xfrm>
            <a:off x="740944" y="4240663"/>
            <a:ext cx="2038659" cy="1558544"/>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dirty="0"/>
              <a:t>Data on the reference mass of each approved vehicle</a:t>
            </a:r>
            <a:endParaRPr lang="es-CL" b="1" dirty="0"/>
          </a:p>
        </p:txBody>
      </p:sp>
      <p:cxnSp>
        <p:nvCxnSpPr>
          <p:cNvPr id="38" name="Conector recto de flecha 37">
            <a:extLst>
              <a:ext uri="{FF2B5EF4-FFF2-40B4-BE49-F238E27FC236}">
                <a16:creationId xmlns:a16="http://schemas.microsoft.com/office/drawing/2014/main" id="{9C346B68-C9E5-4966-2F6A-E7E28473C767}"/>
              </a:ext>
            </a:extLst>
          </p:cNvPr>
          <p:cNvCxnSpPr>
            <a:cxnSpLocks/>
            <a:stCxn id="36" idx="3"/>
            <a:endCxn id="29" idx="1"/>
          </p:cNvCxnSpPr>
          <p:nvPr/>
        </p:nvCxnSpPr>
        <p:spPr>
          <a:xfrm flipV="1">
            <a:off x="2707716" y="2897309"/>
            <a:ext cx="3109346" cy="32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Conector recto de flecha 38">
            <a:extLst>
              <a:ext uri="{FF2B5EF4-FFF2-40B4-BE49-F238E27FC236}">
                <a16:creationId xmlns:a16="http://schemas.microsoft.com/office/drawing/2014/main" id="{F027F7F6-99CD-3D42-7E8B-78782191644F}"/>
              </a:ext>
            </a:extLst>
          </p:cNvPr>
          <p:cNvCxnSpPr>
            <a:cxnSpLocks/>
            <a:stCxn id="37" idx="3"/>
            <a:endCxn id="30" idx="1"/>
          </p:cNvCxnSpPr>
          <p:nvPr/>
        </p:nvCxnSpPr>
        <p:spPr>
          <a:xfrm>
            <a:off x="2779603" y="5019935"/>
            <a:ext cx="342732" cy="54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CuadroTexto 39">
            <a:extLst>
              <a:ext uri="{FF2B5EF4-FFF2-40B4-BE49-F238E27FC236}">
                <a16:creationId xmlns:a16="http://schemas.microsoft.com/office/drawing/2014/main" id="{485FBDB5-6B8F-DBE6-D5C1-609D3A1B2BA0}"/>
              </a:ext>
            </a:extLst>
          </p:cNvPr>
          <p:cNvSpPr txBox="1"/>
          <p:nvPr/>
        </p:nvSpPr>
        <p:spPr>
          <a:xfrm>
            <a:off x="717970" y="1581632"/>
            <a:ext cx="62359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Procedure for calculating the fine or credit</a:t>
            </a:r>
            <a:endParaRPr lang="es-ES" b="1" dirty="0"/>
          </a:p>
        </p:txBody>
      </p:sp>
      <p:cxnSp>
        <p:nvCxnSpPr>
          <p:cNvPr id="7" name="Conector recto de flecha 6">
            <a:extLst>
              <a:ext uri="{FF2B5EF4-FFF2-40B4-BE49-F238E27FC236}">
                <a16:creationId xmlns:a16="http://schemas.microsoft.com/office/drawing/2014/main" id="{14E38006-3E3B-CD07-62C1-9875F757B36E}"/>
              </a:ext>
            </a:extLst>
          </p:cNvPr>
          <p:cNvCxnSpPr>
            <a:cxnSpLocks/>
          </p:cNvCxnSpPr>
          <p:nvPr/>
        </p:nvCxnSpPr>
        <p:spPr>
          <a:xfrm flipV="1">
            <a:off x="5172147" y="5018206"/>
            <a:ext cx="670278" cy="28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Conector recto de flecha 7">
            <a:extLst>
              <a:ext uri="{FF2B5EF4-FFF2-40B4-BE49-F238E27FC236}">
                <a16:creationId xmlns:a16="http://schemas.microsoft.com/office/drawing/2014/main" id="{A441A8BE-BE9A-5A97-CDE0-FE9BAF86B09E}"/>
              </a:ext>
            </a:extLst>
          </p:cNvPr>
          <p:cNvCxnSpPr>
            <a:cxnSpLocks/>
          </p:cNvCxnSpPr>
          <p:nvPr/>
        </p:nvCxnSpPr>
        <p:spPr>
          <a:xfrm>
            <a:off x="8386256" y="2875466"/>
            <a:ext cx="966811" cy="10741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960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uadroTexto 6">
            <a:extLst>
              <a:ext uri="{FF2B5EF4-FFF2-40B4-BE49-F238E27FC236}">
                <a16:creationId xmlns:a16="http://schemas.microsoft.com/office/drawing/2014/main" id="{BE77E811-7156-F0D1-78BE-110CFBE558CA}"/>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dirty="0">
                <a:solidFill>
                  <a:schemeClr val="bg1"/>
                </a:solidFill>
                <a:latin typeface="+mj-lt"/>
                <a:ea typeface="+mj-ea"/>
                <a:cs typeface="+mj-cs"/>
              </a:rPr>
              <a:t>Overall results between March and June 2024</a:t>
            </a:r>
            <a:endParaRPr lang="en-US" sz="3200" kern="1200" dirty="0">
              <a:solidFill>
                <a:schemeClr val="bg1"/>
              </a:solidFill>
              <a:latin typeface="+mj-lt"/>
              <a:ea typeface="+mj-ea"/>
              <a:cs typeface="+mj-cs"/>
            </a:endParaRPr>
          </a:p>
        </p:txBody>
      </p:sp>
      <p:sp>
        <p:nvSpPr>
          <p:cNvPr id="3" name="Marcador de número de diapositiva 2">
            <a:extLst>
              <a:ext uri="{FF2B5EF4-FFF2-40B4-BE49-F238E27FC236}">
                <a16:creationId xmlns:a16="http://schemas.microsoft.com/office/drawing/2014/main" id="{48F27FFC-18C2-46A8-B3BF-A301A7D34E84}"/>
              </a:ext>
            </a:extLst>
          </p:cNvPr>
          <p:cNvSpPr>
            <a:spLocks noGrp="1"/>
          </p:cNvSpPr>
          <p:nvPr>
            <p:ph type="sldNum" sz="quarter" idx="12"/>
          </p:nvPr>
        </p:nvSpPr>
        <p:spPr>
          <a:xfrm>
            <a:off x="9024257" y="6492875"/>
            <a:ext cx="2743200" cy="365125"/>
          </a:xfrm>
        </p:spPr>
        <p:txBody>
          <a:bodyPr vert="horz" lIns="91440" tIns="45720" rIns="91440" bIns="45720" rtlCol="0" anchor="ctr">
            <a:normAutofit/>
          </a:bodyPr>
          <a:lstStyle/>
          <a:p>
            <a:pPr defTabSz="914400">
              <a:spcAft>
                <a:spcPts val="600"/>
              </a:spcAft>
            </a:pPr>
            <a:r>
              <a:rPr lang="en-US" sz="1200">
                <a:latin typeface="+mn-lt"/>
              </a:rPr>
              <a:t>|   </a:t>
            </a:r>
            <a:fld id="{785CD681-51D3-414E-83F2-54688883A8C2}" type="slidenum">
              <a:rPr lang="en-US" sz="1200" smtClean="0">
                <a:latin typeface="+mn-lt"/>
              </a:rPr>
              <a:pPr defTabSz="914400">
                <a:spcAft>
                  <a:spcPts val="600"/>
                </a:spcAft>
              </a:pPr>
              <a:t>22</a:t>
            </a:fld>
            <a:endParaRPr lang="en-US" sz="1200">
              <a:latin typeface="+mn-lt"/>
            </a:endParaRPr>
          </a:p>
        </p:txBody>
      </p:sp>
      <p:sp>
        <p:nvSpPr>
          <p:cNvPr id="6" name="Rectangle 1">
            <a:hlinkClick r:id="rId3"/>
            <a:extLst>
              <a:ext uri="{FF2B5EF4-FFF2-40B4-BE49-F238E27FC236}">
                <a16:creationId xmlns:a16="http://schemas.microsoft.com/office/drawing/2014/main" id="{9DA3863C-C26A-AD1D-F545-86F0391E49E8}"/>
              </a:ext>
            </a:extLst>
          </p:cNvPr>
          <p:cNvSpPr>
            <a:spLocks noChangeArrowheads="1"/>
          </p:cNvSpPr>
          <p:nvPr/>
        </p:nvSpPr>
        <p:spPr bwMode="auto">
          <a:xfrm>
            <a:off x="630810" y="2935467"/>
            <a:ext cx="5336357"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lang="en-US" dirty="0"/>
              <a:t>The Ministry of Transport and Telecommunications processed the preliminary compliance levels of light vehicles marketed between March 1 and June 30, 2024</a:t>
            </a:r>
            <a:endParaRPr lang="es-CL" b="1" dirty="0"/>
          </a:p>
        </p:txBody>
      </p:sp>
      <p:graphicFrame>
        <p:nvGraphicFramePr>
          <p:cNvPr id="5" name="Diagrama 4">
            <a:extLst>
              <a:ext uri="{FF2B5EF4-FFF2-40B4-BE49-F238E27FC236}">
                <a16:creationId xmlns:a16="http://schemas.microsoft.com/office/drawing/2014/main" id="{33DF78CA-D926-1235-00E2-8BFAA69F9B3B}"/>
              </a:ext>
            </a:extLst>
          </p:cNvPr>
          <p:cNvGraphicFramePr/>
          <p:nvPr>
            <p:extLst>
              <p:ext uri="{D42A27DB-BD31-4B8C-83A1-F6EECF244321}">
                <p14:modId xmlns:p14="http://schemas.microsoft.com/office/powerpoint/2010/main" val="529603781"/>
              </p:ext>
            </p:extLst>
          </p:nvPr>
        </p:nvGraphicFramePr>
        <p:xfrm>
          <a:off x="6391373" y="1951348"/>
          <a:ext cx="4798243" cy="370621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9454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uadroTexto 6">
            <a:extLst>
              <a:ext uri="{FF2B5EF4-FFF2-40B4-BE49-F238E27FC236}">
                <a16:creationId xmlns:a16="http://schemas.microsoft.com/office/drawing/2014/main" id="{BE77E811-7156-F0D1-78BE-110CFBE558CA}"/>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a:solidFill>
                  <a:schemeClr val="bg1"/>
                </a:solidFill>
                <a:latin typeface="+mj-lt"/>
                <a:ea typeface="+mj-ea"/>
                <a:cs typeface="+mj-cs"/>
              </a:rPr>
              <a:t>Sales of compliant importers</a:t>
            </a:r>
            <a:endParaRPr lang="en-US" sz="3200" kern="1200" dirty="0">
              <a:solidFill>
                <a:schemeClr val="bg1"/>
              </a:solidFill>
              <a:latin typeface="+mj-lt"/>
              <a:ea typeface="+mj-ea"/>
              <a:cs typeface="+mj-cs"/>
            </a:endParaRPr>
          </a:p>
        </p:txBody>
      </p:sp>
      <p:sp>
        <p:nvSpPr>
          <p:cNvPr id="3" name="Marcador de número de diapositiva 2">
            <a:extLst>
              <a:ext uri="{FF2B5EF4-FFF2-40B4-BE49-F238E27FC236}">
                <a16:creationId xmlns:a16="http://schemas.microsoft.com/office/drawing/2014/main" id="{48F27FFC-18C2-46A8-B3BF-A301A7D34E84}"/>
              </a:ext>
            </a:extLst>
          </p:cNvPr>
          <p:cNvSpPr>
            <a:spLocks noGrp="1"/>
          </p:cNvSpPr>
          <p:nvPr>
            <p:ph type="sldNum" sz="quarter" idx="12"/>
          </p:nvPr>
        </p:nvSpPr>
        <p:spPr>
          <a:xfrm>
            <a:off x="8812619" y="6490954"/>
            <a:ext cx="2743200" cy="365125"/>
          </a:xfrm>
        </p:spPr>
        <p:txBody>
          <a:bodyPr vert="horz" lIns="91440" tIns="45720" rIns="91440" bIns="45720" rtlCol="0" anchor="ctr">
            <a:normAutofit/>
          </a:bodyPr>
          <a:lstStyle/>
          <a:p>
            <a:pPr defTabSz="914400">
              <a:spcAft>
                <a:spcPts val="600"/>
              </a:spcAft>
            </a:pPr>
            <a:r>
              <a:rPr lang="en-US" sz="1200">
                <a:latin typeface="+mn-lt"/>
              </a:rPr>
              <a:t>|   </a:t>
            </a:r>
            <a:fld id="{785CD681-51D3-414E-83F2-54688883A8C2}" type="slidenum">
              <a:rPr lang="en-US" sz="1200" smtClean="0">
                <a:latin typeface="+mn-lt"/>
              </a:rPr>
              <a:pPr defTabSz="914400">
                <a:spcAft>
                  <a:spcPts val="600"/>
                </a:spcAft>
              </a:pPr>
              <a:t>23</a:t>
            </a:fld>
            <a:endParaRPr lang="en-US" sz="1200">
              <a:latin typeface="+mn-lt"/>
            </a:endParaRPr>
          </a:p>
        </p:txBody>
      </p:sp>
      <p:graphicFrame>
        <p:nvGraphicFramePr>
          <p:cNvPr id="10" name="Gráfico 9">
            <a:extLst>
              <a:ext uri="{FF2B5EF4-FFF2-40B4-BE49-F238E27FC236}">
                <a16:creationId xmlns:a16="http://schemas.microsoft.com/office/drawing/2014/main" id="{F2BB38D4-09EE-E8EB-12CB-F5289778EDCB}"/>
              </a:ext>
            </a:extLst>
          </p:cNvPr>
          <p:cNvGraphicFramePr>
            <a:graphicFrameLocks/>
          </p:cNvGraphicFramePr>
          <p:nvPr>
            <p:extLst>
              <p:ext uri="{D42A27DB-BD31-4B8C-83A1-F6EECF244321}">
                <p14:modId xmlns:p14="http://schemas.microsoft.com/office/powerpoint/2010/main" val="1808829266"/>
              </p:ext>
            </p:extLst>
          </p:nvPr>
        </p:nvGraphicFramePr>
        <p:xfrm>
          <a:off x="304800" y="1722645"/>
          <a:ext cx="8128000" cy="46618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Diagrama 10">
            <a:extLst>
              <a:ext uri="{FF2B5EF4-FFF2-40B4-BE49-F238E27FC236}">
                <a16:creationId xmlns:a16="http://schemas.microsoft.com/office/drawing/2014/main" id="{DE98CFC7-54AF-1428-B1C0-6E4FBF3065D6}"/>
              </a:ext>
            </a:extLst>
          </p:cNvPr>
          <p:cNvGraphicFramePr/>
          <p:nvPr>
            <p:extLst>
              <p:ext uri="{D42A27DB-BD31-4B8C-83A1-F6EECF244321}">
                <p14:modId xmlns:p14="http://schemas.microsoft.com/office/powerpoint/2010/main" val="3051251078"/>
              </p:ext>
            </p:extLst>
          </p:nvPr>
        </p:nvGraphicFramePr>
        <p:xfrm>
          <a:off x="8128000" y="2019217"/>
          <a:ext cx="4798243" cy="370621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9526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uadroTexto 6">
            <a:extLst>
              <a:ext uri="{FF2B5EF4-FFF2-40B4-BE49-F238E27FC236}">
                <a16:creationId xmlns:a16="http://schemas.microsoft.com/office/drawing/2014/main" id="{BE77E811-7156-F0D1-78BE-110CFBE558CA}"/>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a:solidFill>
                  <a:schemeClr val="bg1"/>
                </a:solidFill>
                <a:latin typeface="+mj-lt"/>
                <a:ea typeface="+mj-ea"/>
                <a:cs typeface="+mj-cs"/>
              </a:rPr>
              <a:t>Record of sales of light vehicles since 2021</a:t>
            </a:r>
            <a:endParaRPr lang="en-US" sz="3200" kern="1200" dirty="0">
              <a:solidFill>
                <a:schemeClr val="bg1"/>
              </a:solidFill>
              <a:latin typeface="+mj-lt"/>
              <a:ea typeface="+mj-ea"/>
              <a:cs typeface="+mj-cs"/>
            </a:endParaRPr>
          </a:p>
        </p:txBody>
      </p:sp>
      <p:sp>
        <p:nvSpPr>
          <p:cNvPr id="3" name="Marcador de número de diapositiva 2">
            <a:extLst>
              <a:ext uri="{FF2B5EF4-FFF2-40B4-BE49-F238E27FC236}">
                <a16:creationId xmlns:a16="http://schemas.microsoft.com/office/drawing/2014/main" id="{48F27FFC-18C2-46A8-B3BF-A301A7D34E84}"/>
              </a:ext>
            </a:extLst>
          </p:cNvPr>
          <p:cNvSpPr>
            <a:spLocks noGrp="1"/>
          </p:cNvSpPr>
          <p:nvPr>
            <p:ph type="sldNum" sz="quarter" idx="12"/>
          </p:nvPr>
        </p:nvSpPr>
        <p:spPr>
          <a:xfrm>
            <a:off x="8790667" y="6492875"/>
            <a:ext cx="2743200" cy="365125"/>
          </a:xfrm>
        </p:spPr>
        <p:txBody>
          <a:bodyPr vert="horz" lIns="91440" tIns="45720" rIns="91440" bIns="45720" rtlCol="0" anchor="ctr">
            <a:normAutofit/>
          </a:bodyPr>
          <a:lstStyle/>
          <a:p>
            <a:pPr defTabSz="914400">
              <a:spcAft>
                <a:spcPts val="600"/>
              </a:spcAft>
            </a:pPr>
            <a:r>
              <a:rPr lang="en-US" sz="1200">
                <a:latin typeface="+mn-lt"/>
              </a:rPr>
              <a:t>|   </a:t>
            </a:r>
            <a:fld id="{785CD681-51D3-414E-83F2-54688883A8C2}" type="slidenum">
              <a:rPr lang="en-US" sz="1200" smtClean="0">
                <a:latin typeface="+mn-lt"/>
              </a:rPr>
              <a:pPr defTabSz="914400">
                <a:spcAft>
                  <a:spcPts val="600"/>
                </a:spcAft>
              </a:pPr>
              <a:t>24</a:t>
            </a:fld>
            <a:endParaRPr lang="en-US" sz="1200">
              <a:latin typeface="+mn-lt"/>
            </a:endParaRPr>
          </a:p>
        </p:txBody>
      </p:sp>
      <p:pic>
        <p:nvPicPr>
          <p:cNvPr id="2050" name="Picture 2">
            <a:extLst>
              <a:ext uri="{FF2B5EF4-FFF2-40B4-BE49-F238E27FC236}">
                <a16:creationId xmlns:a16="http://schemas.microsoft.com/office/drawing/2014/main" id="{19822E93-6C72-D0EA-A986-3EA944ADE7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990" y="1845527"/>
            <a:ext cx="8016444" cy="4053598"/>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a:extLst>
              <a:ext uri="{FF2B5EF4-FFF2-40B4-BE49-F238E27FC236}">
                <a16:creationId xmlns:a16="http://schemas.microsoft.com/office/drawing/2014/main" id="{1E3814A0-923C-833C-6E29-E98FAF1DE199}"/>
              </a:ext>
            </a:extLst>
          </p:cNvPr>
          <p:cNvSpPr txBox="1"/>
          <p:nvPr/>
        </p:nvSpPr>
        <p:spPr>
          <a:xfrm>
            <a:off x="8790667" y="2430532"/>
            <a:ext cx="2888343" cy="3139321"/>
          </a:xfrm>
          <a:prstGeom prst="rect">
            <a:avLst/>
          </a:prstGeom>
          <a:noFill/>
        </p:spPr>
        <p:txBody>
          <a:bodyPr wrap="square" rtlCol="0">
            <a:spAutoFit/>
          </a:bodyPr>
          <a:lstStyle/>
          <a:p>
            <a:pPr marL="285750" indent="-285750">
              <a:buFont typeface="Arial" panose="020B0604020202020204" pitchFamily="34" charset="0"/>
              <a:buChar char="•"/>
            </a:pPr>
            <a:r>
              <a:rPr lang="en-US" b="1" dirty="0"/>
              <a:t>In 2024, only the period March-June is considered</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n-US" dirty="0"/>
              <a:t>Although the sale of vehicles in general has decreased, there is evidence of an increase in the sale of zero-emission vehicles.</a:t>
            </a:r>
            <a:endParaRPr lang="es-CL" b="1" dirty="0"/>
          </a:p>
        </p:txBody>
      </p:sp>
    </p:spTree>
    <p:extLst>
      <p:ext uri="{BB962C8B-B14F-4D97-AF65-F5344CB8AC3E}">
        <p14:creationId xmlns:p14="http://schemas.microsoft.com/office/powerpoint/2010/main" val="1424769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uadroTexto 6">
            <a:extLst>
              <a:ext uri="{FF2B5EF4-FFF2-40B4-BE49-F238E27FC236}">
                <a16:creationId xmlns:a16="http://schemas.microsoft.com/office/drawing/2014/main" id="{BE77E811-7156-F0D1-78BE-110CFBE558CA}"/>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dirty="0">
                <a:solidFill>
                  <a:schemeClr val="bg1"/>
                </a:solidFill>
                <a:latin typeface="+mj-lt"/>
                <a:ea typeface="+mj-ea"/>
                <a:cs typeface="+mj-cs"/>
              </a:rPr>
              <a:t>Percentage of sales of zero-emission vehicles</a:t>
            </a:r>
            <a:endParaRPr lang="en-US" sz="3200" kern="1200" dirty="0">
              <a:solidFill>
                <a:schemeClr val="bg1"/>
              </a:solidFill>
              <a:latin typeface="+mj-lt"/>
              <a:ea typeface="+mj-ea"/>
              <a:cs typeface="+mj-cs"/>
            </a:endParaRPr>
          </a:p>
        </p:txBody>
      </p:sp>
      <p:sp>
        <p:nvSpPr>
          <p:cNvPr id="3" name="Marcador de número de diapositiva 2">
            <a:extLst>
              <a:ext uri="{FF2B5EF4-FFF2-40B4-BE49-F238E27FC236}">
                <a16:creationId xmlns:a16="http://schemas.microsoft.com/office/drawing/2014/main" id="{48F27FFC-18C2-46A8-B3BF-A301A7D34E84}"/>
              </a:ext>
            </a:extLst>
          </p:cNvPr>
          <p:cNvSpPr>
            <a:spLocks noGrp="1"/>
          </p:cNvSpPr>
          <p:nvPr>
            <p:ph type="sldNum" sz="quarter" idx="12"/>
          </p:nvPr>
        </p:nvSpPr>
        <p:spPr>
          <a:xfrm>
            <a:off x="8755743" y="6492875"/>
            <a:ext cx="2743200" cy="365125"/>
          </a:xfrm>
        </p:spPr>
        <p:txBody>
          <a:bodyPr vert="horz" lIns="91440" tIns="45720" rIns="91440" bIns="45720" rtlCol="0" anchor="ctr">
            <a:normAutofit/>
          </a:bodyPr>
          <a:lstStyle/>
          <a:p>
            <a:pPr defTabSz="914400">
              <a:spcAft>
                <a:spcPts val="600"/>
              </a:spcAft>
            </a:pPr>
            <a:r>
              <a:rPr lang="en-US" sz="1200">
                <a:latin typeface="+mn-lt"/>
              </a:rPr>
              <a:t>|   </a:t>
            </a:r>
            <a:fld id="{785CD681-51D3-414E-83F2-54688883A8C2}" type="slidenum">
              <a:rPr lang="en-US" sz="1200" smtClean="0">
                <a:latin typeface="+mn-lt"/>
              </a:rPr>
              <a:pPr defTabSz="914400">
                <a:spcAft>
                  <a:spcPts val="600"/>
                </a:spcAft>
              </a:pPr>
              <a:t>25</a:t>
            </a:fld>
            <a:endParaRPr lang="en-US" sz="1200">
              <a:latin typeface="+mn-lt"/>
            </a:endParaRPr>
          </a:p>
        </p:txBody>
      </p:sp>
      <p:sp>
        <p:nvSpPr>
          <p:cNvPr id="2" name="CuadroTexto 1">
            <a:extLst>
              <a:ext uri="{FF2B5EF4-FFF2-40B4-BE49-F238E27FC236}">
                <a16:creationId xmlns:a16="http://schemas.microsoft.com/office/drawing/2014/main" id="{1E3814A0-923C-833C-6E29-E98FAF1DE199}"/>
              </a:ext>
            </a:extLst>
          </p:cNvPr>
          <p:cNvSpPr txBox="1"/>
          <p:nvPr/>
        </p:nvSpPr>
        <p:spPr>
          <a:xfrm>
            <a:off x="8610600" y="2995163"/>
            <a:ext cx="2888343" cy="1200329"/>
          </a:xfrm>
          <a:prstGeom prst="rect">
            <a:avLst/>
          </a:prstGeom>
          <a:noFill/>
        </p:spPr>
        <p:txBody>
          <a:bodyPr wrap="square" rtlCol="0">
            <a:spAutoFit/>
          </a:bodyPr>
          <a:lstStyle/>
          <a:p>
            <a:r>
              <a:rPr lang="en-US" dirty="0"/>
              <a:t>The graph shows the representation of zero-emission vehicle sales within total annual sales.</a:t>
            </a:r>
            <a:endParaRPr lang="es-CL" dirty="0"/>
          </a:p>
        </p:txBody>
      </p:sp>
      <p:pic>
        <p:nvPicPr>
          <p:cNvPr id="5" name="Imagen 4">
            <a:extLst>
              <a:ext uri="{FF2B5EF4-FFF2-40B4-BE49-F238E27FC236}">
                <a16:creationId xmlns:a16="http://schemas.microsoft.com/office/drawing/2014/main" id="{8ADDDCE7-D93C-A218-AD01-546FDCBB2CE5}"/>
              </a:ext>
            </a:extLst>
          </p:cNvPr>
          <p:cNvPicPr>
            <a:picLocks noChangeAspect="1"/>
          </p:cNvPicPr>
          <p:nvPr/>
        </p:nvPicPr>
        <p:blipFill>
          <a:blip r:embed="rId3"/>
          <a:stretch>
            <a:fillRect/>
          </a:stretch>
        </p:blipFill>
        <p:spPr>
          <a:xfrm>
            <a:off x="1291771" y="1821557"/>
            <a:ext cx="6434962" cy="4216010"/>
          </a:xfrm>
          <a:prstGeom prst="rect">
            <a:avLst/>
          </a:prstGeom>
        </p:spPr>
      </p:pic>
    </p:spTree>
    <p:extLst>
      <p:ext uri="{BB962C8B-B14F-4D97-AF65-F5344CB8AC3E}">
        <p14:creationId xmlns:p14="http://schemas.microsoft.com/office/powerpoint/2010/main" val="38134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uadroTexto 6">
            <a:extLst>
              <a:ext uri="{FF2B5EF4-FFF2-40B4-BE49-F238E27FC236}">
                <a16:creationId xmlns:a16="http://schemas.microsoft.com/office/drawing/2014/main" id="{BE77E811-7156-F0D1-78BE-110CFBE558CA}"/>
              </a:ext>
            </a:extLst>
          </p:cNvPr>
          <p:cNvSpPr txBox="1"/>
          <p:nvPr/>
        </p:nvSpPr>
        <p:spPr>
          <a:xfrm>
            <a:off x="556532" y="643467"/>
            <a:ext cx="11210925" cy="744836"/>
          </a:xfrm>
          <a:prstGeom prst="rect">
            <a:avLst/>
          </a:prstGeom>
        </p:spPr>
        <p:txBody>
          <a:bodyPr vert="horz" lIns="91440" tIns="45720" rIns="91440" bIns="45720" rtlCol="0" anchor="ctr">
            <a:normAutofit fontScale="92500"/>
          </a:bodyPr>
          <a:lstStyle/>
          <a:p>
            <a:pPr algn="ctr" defTabSz="914400">
              <a:lnSpc>
                <a:spcPct val="90000"/>
              </a:lnSpc>
              <a:spcBef>
                <a:spcPct val="0"/>
              </a:spcBef>
              <a:spcAft>
                <a:spcPts val="600"/>
              </a:spcAft>
            </a:pPr>
            <a:r>
              <a:rPr lang="en-US" sz="3200">
                <a:solidFill>
                  <a:schemeClr val="bg1"/>
                </a:solidFill>
                <a:latin typeface="+mj-lt"/>
                <a:ea typeface="+mj-ea"/>
                <a:cs typeface="+mj-cs"/>
              </a:rPr>
              <a:t>Average performance evolution and level of compliance</a:t>
            </a:r>
            <a:endParaRPr lang="en-US" sz="3200" kern="1200" dirty="0">
              <a:solidFill>
                <a:schemeClr val="bg1"/>
              </a:solidFill>
              <a:latin typeface="+mj-lt"/>
              <a:ea typeface="+mj-ea"/>
              <a:cs typeface="+mj-cs"/>
            </a:endParaRPr>
          </a:p>
        </p:txBody>
      </p:sp>
      <p:sp>
        <p:nvSpPr>
          <p:cNvPr id="3" name="Marcador de número de diapositiva 2">
            <a:extLst>
              <a:ext uri="{FF2B5EF4-FFF2-40B4-BE49-F238E27FC236}">
                <a16:creationId xmlns:a16="http://schemas.microsoft.com/office/drawing/2014/main" id="{48F27FFC-18C2-46A8-B3BF-A301A7D34E84}"/>
              </a:ext>
            </a:extLst>
          </p:cNvPr>
          <p:cNvSpPr>
            <a:spLocks noGrp="1"/>
          </p:cNvSpPr>
          <p:nvPr>
            <p:ph type="sldNum" sz="quarter" idx="12"/>
          </p:nvPr>
        </p:nvSpPr>
        <p:spPr>
          <a:xfrm>
            <a:off x="8801986" y="6492875"/>
            <a:ext cx="2743200" cy="365125"/>
          </a:xfrm>
        </p:spPr>
        <p:txBody>
          <a:bodyPr vert="horz" lIns="91440" tIns="45720" rIns="91440" bIns="45720" rtlCol="0" anchor="ctr">
            <a:normAutofit/>
          </a:bodyPr>
          <a:lstStyle/>
          <a:p>
            <a:pPr defTabSz="914400">
              <a:spcAft>
                <a:spcPts val="600"/>
              </a:spcAft>
            </a:pPr>
            <a:r>
              <a:rPr lang="en-US" sz="1200">
                <a:latin typeface="+mn-lt"/>
              </a:rPr>
              <a:t>|   </a:t>
            </a:r>
            <a:fld id="{785CD681-51D3-414E-83F2-54688883A8C2}" type="slidenum">
              <a:rPr lang="en-US" sz="1200" smtClean="0">
                <a:latin typeface="+mn-lt"/>
              </a:rPr>
              <a:pPr defTabSz="914400">
                <a:spcAft>
                  <a:spcPts val="600"/>
                </a:spcAft>
              </a:pPr>
              <a:t>26</a:t>
            </a:fld>
            <a:endParaRPr lang="en-US" sz="1200">
              <a:latin typeface="+mn-lt"/>
            </a:endParaRPr>
          </a:p>
        </p:txBody>
      </p:sp>
      <p:pic>
        <p:nvPicPr>
          <p:cNvPr id="3074" name="Picture 2">
            <a:extLst>
              <a:ext uri="{FF2B5EF4-FFF2-40B4-BE49-F238E27FC236}">
                <a16:creationId xmlns:a16="http://schemas.microsoft.com/office/drawing/2014/main" id="{0FDBA004-0600-9B84-043A-69C950D2BA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531" y="1767113"/>
            <a:ext cx="6918325" cy="4150995"/>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a:extLst>
              <a:ext uri="{FF2B5EF4-FFF2-40B4-BE49-F238E27FC236}">
                <a16:creationId xmlns:a16="http://schemas.microsoft.com/office/drawing/2014/main" id="{7217B471-7DB8-62E7-B7C7-BCD0A89D9FFF}"/>
              </a:ext>
            </a:extLst>
          </p:cNvPr>
          <p:cNvSpPr txBox="1"/>
          <p:nvPr/>
        </p:nvSpPr>
        <p:spPr>
          <a:xfrm>
            <a:off x="8334827" y="2826947"/>
            <a:ext cx="3294745" cy="2031325"/>
          </a:xfrm>
          <a:prstGeom prst="rect">
            <a:avLst/>
          </a:prstGeom>
          <a:noFill/>
        </p:spPr>
        <p:txBody>
          <a:bodyPr wrap="square" rtlCol="0">
            <a:spAutoFit/>
          </a:bodyPr>
          <a:lstStyle/>
          <a:p>
            <a:pPr marL="285750" indent="-285750">
              <a:buFont typeface="Arial" panose="020B0604020202020204" pitchFamily="34" charset="0"/>
              <a:buChar char="•"/>
            </a:pPr>
            <a:r>
              <a:rPr lang="en-US" dirty="0"/>
              <a:t>Average performance increased by 7.8% from 2021</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n-US" dirty="0"/>
              <a:t>The level of compliance increased by 22.6% since 2021.</a:t>
            </a:r>
            <a:endParaRPr lang="es-CL" dirty="0"/>
          </a:p>
        </p:txBody>
      </p:sp>
    </p:spTree>
    <p:extLst>
      <p:ext uri="{BB962C8B-B14F-4D97-AF65-F5344CB8AC3E}">
        <p14:creationId xmlns:p14="http://schemas.microsoft.com/office/powerpoint/2010/main" val="43437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9" name="Rectangle 18">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Rectangle 28">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uadroTexto 6">
            <a:extLst>
              <a:ext uri="{FF2B5EF4-FFF2-40B4-BE49-F238E27FC236}">
                <a16:creationId xmlns:a16="http://schemas.microsoft.com/office/drawing/2014/main" id="{BE77E811-7156-F0D1-78BE-110CFBE558CA}"/>
              </a:ext>
            </a:extLst>
          </p:cNvPr>
          <p:cNvSpPr txBox="1"/>
          <p:nvPr/>
        </p:nvSpPr>
        <p:spPr>
          <a:xfrm>
            <a:off x="184864" y="535899"/>
            <a:ext cx="3668088" cy="3387497"/>
          </a:xfrm>
          <a:prstGeom prst="rect">
            <a:avLst/>
          </a:prstGeom>
        </p:spPr>
        <p:txBody>
          <a:bodyPr vert="horz" lIns="91440" tIns="45720" rIns="91440" bIns="45720" rtlCol="0" anchor="b">
            <a:normAutofit/>
          </a:bodyPr>
          <a:lstStyle/>
          <a:p>
            <a:pPr algn="r" defTabSz="914400">
              <a:lnSpc>
                <a:spcPct val="90000"/>
              </a:lnSpc>
              <a:spcBef>
                <a:spcPct val="0"/>
              </a:spcBef>
              <a:spcAft>
                <a:spcPts val="600"/>
              </a:spcAft>
            </a:pPr>
            <a:r>
              <a:rPr lang="en-US" sz="4000" kern="1200" dirty="0">
                <a:solidFill>
                  <a:srgbClr val="FFFFFF"/>
                </a:solidFill>
                <a:latin typeface="+mj-lt"/>
                <a:ea typeface="+mj-ea"/>
                <a:cs typeface="+mj-cs"/>
              </a:rPr>
              <a:t>Conclusions</a:t>
            </a:r>
          </a:p>
        </p:txBody>
      </p:sp>
      <p:sp>
        <p:nvSpPr>
          <p:cNvPr id="6" name="Rectangle 1">
            <a:hlinkClick r:id="rId3"/>
            <a:extLst>
              <a:ext uri="{FF2B5EF4-FFF2-40B4-BE49-F238E27FC236}">
                <a16:creationId xmlns:a16="http://schemas.microsoft.com/office/drawing/2014/main" id="{9DA3863C-C26A-AD1D-F545-86F0391E49E8}"/>
              </a:ext>
            </a:extLst>
          </p:cNvPr>
          <p:cNvSpPr>
            <a:spLocks noChangeArrowheads="1"/>
          </p:cNvSpPr>
          <p:nvPr/>
        </p:nvSpPr>
        <p:spPr bwMode="auto">
          <a:xfrm>
            <a:off x="4810259" y="649480"/>
            <a:ext cx="6555347" cy="554604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rtlCol="0" anchor="ctr" anchorCtr="0" compatLnSpc="1">
            <a:prstTxWarp prst="textNoShape">
              <a:avLst/>
            </a:prstTxWarp>
            <a:normAutofit/>
          </a:bodyPr>
          <a:lstStyle/>
          <a:p>
            <a:pPr marL="285750" indent="-285750">
              <a:buFont typeface="Arial" panose="020B0604020202020204" pitchFamily="34" charset="0"/>
              <a:buChar char="•"/>
            </a:pPr>
            <a:r>
              <a:rPr lang="en-US" sz="1400" dirty="0"/>
              <a:t>Despite a decreasing trend in the total number of vehicles placed on the market compared to previous years, </a:t>
            </a:r>
            <a:r>
              <a:rPr lang="en-US" sz="1400" b="1" dirty="0"/>
              <a:t>the</a:t>
            </a:r>
            <a:r>
              <a:rPr lang="en-US" sz="1400" dirty="0"/>
              <a:t> </a:t>
            </a:r>
            <a:r>
              <a:rPr lang="en-US" sz="1400" b="1" dirty="0"/>
              <a:t>average</a:t>
            </a:r>
            <a:r>
              <a:rPr lang="en-US" sz="1400" dirty="0"/>
              <a:t> </a:t>
            </a:r>
            <a:r>
              <a:rPr lang="en-US" sz="1400" b="1" dirty="0"/>
              <a:t>performance</a:t>
            </a:r>
            <a:r>
              <a:rPr lang="en-US" sz="1400" dirty="0"/>
              <a:t> </a:t>
            </a:r>
            <a:r>
              <a:rPr lang="en-US" sz="1400" b="1" dirty="0"/>
              <a:t>and</a:t>
            </a:r>
            <a:r>
              <a:rPr lang="en-US" sz="1400" dirty="0"/>
              <a:t> </a:t>
            </a:r>
            <a:r>
              <a:rPr lang="en-US" sz="1400" b="1" dirty="0"/>
              <a:t>compliance with the</a:t>
            </a:r>
            <a:r>
              <a:rPr lang="en-US" sz="1400" dirty="0"/>
              <a:t> </a:t>
            </a:r>
            <a:r>
              <a:rPr lang="en-US" sz="1400" b="1" dirty="0"/>
              <a:t>fuel</a:t>
            </a:r>
            <a:r>
              <a:rPr lang="en-US" sz="1400" dirty="0"/>
              <a:t> </a:t>
            </a:r>
            <a:r>
              <a:rPr lang="en-US" sz="1400" b="1" dirty="0"/>
              <a:t>efficiency standard</a:t>
            </a:r>
            <a:r>
              <a:rPr lang="en-US" sz="1400" dirty="0"/>
              <a:t> </a:t>
            </a:r>
            <a:r>
              <a:rPr lang="en-US" sz="1400" b="1" dirty="0"/>
              <a:t>have</a:t>
            </a:r>
            <a:r>
              <a:rPr lang="en-US" sz="1400" dirty="0"/>
              <a:t> </a:t>
            </a:r>
            <a:r>
              <a:rPr lang="en-US" sz="1400" b="1" dirty="0"/>
              <a:t>improved</a:t>
            </a:r>
            <a:r>
              <a:rPr lang="en-US" sz="1400" dirty="0"/>
              <a:t> </a:t>
            </a:r>
            <a:r>
              <a:rPr lang="en-US" sz="1400" b="1" dirty="0"/>
              <a:t>significantly</a:t>
            </a:r>
            <a:endParaRPr lang="en-US" sz="1400" dirty="0"/>
          </a:p>
          <a:p>
            <a:pPr marL="285750" indent="-228600" defTabSz="914400">
              <a:lnSpc>
                <a:spcPct val="90000"/>
              </a:lnSpc>
              <a:spcAft>
                <a:spcPts val="600"/>
              </a:spcAft>
              <a:buFont typeface="Arial" panose="020B0604020202020204" pitchFamily="34" charset="0"/>
              <a:buChar char="•"/>
            </a:pPr>
            <a:endParaRPr lang="en-US" sz="1400" dirty="0"/>
          </a:p>
          <a:p>
            <a:pPr marL="285750" indent="-228600" defTabSz="914400">
              <a:lnSpc>
                <a:spcPct val="90000"/>
              </a:lnSpc>
              <a:spcAft>
                <a:spcPts val="600"/>
              </a:spcAft>
              <a:buFont typeface="Arial" panose="020B0604020202020204" pitchFamily="34" charset="0"/>
              <a:buChar char="•"/>
            </a:pPr>
            <a:r>
              <a:rPr lang="en-US" sz="1400" dirty="0"/>
              <a:t>Companies such as </a:t>
            </a:r>
            <a:r>
              <a:rPr lang="en-US" sz="1400" b="1" dirty="0"/>
              <a:t>BYD and Tesla lead in</a:t>
            </a:r>
            <a:r>
              <a:rPr lang="en-US" sz="1400" dirty="0"/>
              <a:t> </a:t>
            </a:r>
            <a:r>
              <a:rPr lang="en-US" sz="1400" b="1" dirty="0"/>
              <a:t>terms of over-compliance</a:t>
            </a:r>
            <a:r>
              <a:rPr lang="en-US" sz="1400" dirty="0"/>
              <a:t> due to their </a:t>
            </a:r>
            <a:r>
              <a:rPr lang="en-US" sz="1400" b="1" dirty="0"/>
              <a:t>high</a:t>
            </a:r>
            <a:r>
              <a:rPr lang="en-US" sz="1400" dirty="0"/>
              <a:t> </a:t>
            </a:r>
            <a:r>
              <a:rPr lang="en-US" sz="1400" b="1" dirty="0"/>
              <a:t>proportion of</a:t>
            </a:r>
            <a:r>
              <a:rPr lang="en-US" sz="1400" dirty="0"/>
              <a:t> </a:t>
            </a:r>
            <a:r>
              <a:rPr lang="en-US" sz="1400" b="1" dirty="0"/>
              <a:t>pure electric vehicles</a:t>
            </a:r>
            <a:r>
              <a:rPr lang="en-US" sz="1400" dirty="0"/>
              <a:t>, demonstrating a strong commitment to sustainable mobility</a:t>
            </a:r>
          </a:p>
          <a:p>
            <a:pPr marL="285750" indent="-228600" defTabSz="914400">
              <a:lnSpc>
                <a:spcPct val="90000"/>
              </a:lnSpc>
              <a:spcAft>
                <a:spcPts val="600"/>
              </a:spcAft>
              <a:buFont typeface="Arial" panose="020B0604020202020204" pitchFamily="34" charset="0"/>
              <a:buChar char="•"/>
            </a:pPr>
            <a:endParaRPr lang="en-US" sz="1400" dirty="0"/>
          </a:p>
          <a:p>
            <a:pPr marL="285750" indent="-228600" defTabSz="914400">
              <a:lnSpc>
                <a:spcPct val="90000"/>
              </a:lnSpc>
              <a:spcAft>
                <a:spcPts val="600"/>
              </a:spcAft>
              <a:buFont typeface="Arial" panose="020B0604020202020204" pitchFamily="34" charset="0"/>
              <a:buChar char="•"/>
            </a:pPr>
            <a:r>
              <a:rPr lang="en-US" sz="1400" dirty="0"/>
              <a:t>Other brands have managed to meet the standard without relying mostly on zero-emission technologies, suggesting that </a:t>
            </a:r>
            <a:r>
              <a:rPr lang="en-US" sz="1400" b="1" dirty="0"/>
              <a:t>there are</a:t>
            </a:r>
            <a:r>
              <a:rPr lang="en-US" sz="1400" dirty="0"/>
              <a:t> </a:t>
            </a:r>
            <a:r>
              <a:rPr lang="en-US" sz="1400" b="1" dirty="0"/>
              <a:t>multiple</a:t>
            </a:r>
            <a:r>
              <a:rPr lang="en-US" sz="1400" dirty="0"/>
              <a:t> </a:t>
            </a:r>
            <a:r>
              <a:rPr lang="en-US" sz="1400" b="1" dirty="0"/>
              <a:t>effective</a:t>
            </a:r>
            <a:r>
              <a:rPr lang="en-US" sz="1400" dirty="0"/>
              <a:t> </a:t>
            </a:r>
            <a:r>
              <a:rPr lang="en-US" sz="1400" b="1" dirty="0"/>
              <a:t>approaches</a:t>
            </a:r>
            <a:r>
              <a:rPr lang="en-US" sz="1400" dirty="0"/>
              <a:t> </a:t>
            </a:r>
            <a:r>
              <a:rPr lang="en-US" sz="1400" b="1" dirty="0"/>
              <a:t>to meeting</a:t>
            </a:r>
            <a:r>
              <a:rPr lang="en-US" sz="1400" dirty="0"/>
              <a:t> </a:t>
            </a:r>
            <a:r>
              <a:rPr lang="en-US" sz="1400" b="1" dirty="0"/>
              <a:t>regulatory</a:t>
            </a:r>
            <a:r>
              <a:rPr lang="en-US" sz="1400" dirty="0"/>
              <a:t> </a:t>
            </a:r>
            <a:r>
              <a:rPr lang="en-US" sz="1400" b="1" dirty="0"/>
              <a:t>requirements</a:t>
            </a:r>
            <a:endParaRPr lang="en-US" sz="1400" dirty="0"/>
          </a:p>
          <a:p>
            <a:pPr marL="285750" indent="-228600" defTabSz="914400">
              <a:lnSpc>
                <a:spcPct val="90000"/>
              </a:lnSpc>
              <a:spcAft>
                <a:spcPts val="600"/>
              </a:spcAft>
              <a:buFont typeface="Arial" panose="020B0604020202020204" pitchFamily="34" charset="0"/>
              <a:buChar char="•"/>
            </a:pPr>
            <a:endParaRPr lang="en-US" sz="1400" dirty="0"/>
          </a:p>
          <a:p>
            <a:pPr marL="285750" indent="-228600" defTabSz="914400">
              <a:lnSpc>
                <a:spcPct val="90000"/>
              </a:lnSpc>
              <a:spcAft>
                <a:spcPts val="600"/>
              </a:spcAft>
              <a:buFont typeface="Arial" panose="020B0604020202020204" pitchFamily="34" charset="0"/>
              <a:buChar char="•"/>
            </a:pPr>
            <a:r>
              <a:rPr lang="en-US" sz="1400" dirty="0"/>
              <a:t>The positive impact of the regulation on the incorporation of clean technologies is reflected in the </a:t>
            </a:r>
            <a:r>
              <a:rPr lang="en-US" sz="1400" b="1" dirty="0"/>
              <a:t>increase in the percentage of zero-emission vehicle sales</a:t>
            </a:r>
            <a:endParaRPr lang="en-US" sz="1400" dirty="0"/>
          </a:p>
          <a:p>
            <a:pPr marL="57150" defTabSz="914400">
              <a:lnSpc>
                <a:spcPct val="90000"/>
              </a:lnSpc>
              <a:spcAft>
                <a:spcPts val="600"/>
              </a:spcAft>
            </a:pPr>
            <a:endParaRPr lang="en-US" sz="1400" dirty="0"/>
          </a:p>
          <a:p>
            <a:pPr marL="285750" indent="-228600" defTabSz="914400">
              <a:lnSpc>
                <a:spcPct val="90000"/>
              </a:lnSpc>
              <a:spcAft>
                <a:spcPts val="600"/>
              </a:spcAft>
              <a:buFont typeface="Arial" panose="020B0604020202020204" pitchFamily="34" charset="0"/>
              <a:buChar char="•"/>
            </a:pPr>
            <a:r>
              <a:rPr lang="en-US" sz="1400" dirty="0"/>
              <a:t>A </a:t>
            </a:r>
            <a:r>
              <a:rPr lang="en-US" sz="1400" b="1" dirty="0"/>
              <a:t>significant</a:t>
            </a:r>
            <a:r>
              <a:rPr lang="en-US" sz="1400" dirty="0"/>
              <a:t> </a:t>
            </a:r>
            <a:r>
              <a:rPr lang="en-US" sz="1400" b="1" dirty="0"/>
              <a:t>decrease</a:t>
            </a:r>
            <a:r>
              <a:rPr lang="en-US" sz="1400" dirty="0"/>
              <a:t> </a:t>
            </a:r>
            <a:r>
              <a:rPr lang="en-US" sz="1400" b="1" dirty="0"/>
              <a:t>in fines</a:t>
            </a:r>
            <a:r>
              <a:rPr lang="en-US" sz="1400" dirty="0"/>
              <a:t> </a:t>
            </a:r>
            <a:r>
              <a:rPr lang="en-US" sz="1400" b="1" dirty="0"/>
              <a:t>for</a:t>
            </a:r>
            <a:r>
              <a:rPr lang="en-US" sz="1400" dirty="0"/>
              <a:t> </a:t>
            </a:r>
            <a:r>
              <a:rPr lang="en-US" sz="1400" b="1" dirty="0"/>
              <a:t>non-compliance</a:t>
            </a:r>
            <a:r>
              <a:rPr lang="en-US" sz="1400" dirty="0"/>
              <a:t> is projected, indicating a trend toward greater adherence to the energy efficiency standard</a:t>
            </a:r>
          </a:p>
        </p:txBody>
      </p:sp>
      <p:sp>
        <p:nvSpPr>
          <p:cNvPr id="3" name="Marcador de número de diapositiva 2">
            <a:extLst>
              <a:ext uri="{FF2B5EF4-FFF2-40B4-BE49-F238E27FC236}">
                <a16:creationId xmlns:a16="http://schemas.microsoft.com/office/drawing/2014/main" id="{48F27FFC-18C2-46A8-B3BF-A301A7D34E84}"/>
              </a:ext>
            </a:extLst>
          </p:cNvPr>
          <p:cNvSpPr>
            <a:spLocks noGrp="1"/>
          </p:cNvSpPr>
          <p:nvPr>
            <p:ph type="sldNum" sz="quarter" idx="12"/>
          </p:nvPr>
        </p:nvSpPr>
        <p:spPr>
          <a:xfrm>
            <a:off x="11704320" y="6455664"/>
            <a:ext cx="448056" cy="365125"/>
          </a:xfrm>
        </p:spPr>
        <p:txBody>
          <a:bodyPr vert="horz" lIns="91440" tIns="45720" rIns="91440" bIns="45720" rtlCol="0" anchor="ctr">
            <a:normAutofit fontScale="92500" lnSpcReduction="10000"/>
          </a:bodyPr>
          <a:lstStyle/>
          <a:p>
            <a:pPr defTabSz="914400">
              <a:spcAft>
                <a:spcPts val="600"/>
              </a:spcAft>
            </a:pPr>
            <a:r>
              <a:rPr lang="en-US" sz="1000">
                <a:solidFill>
                  <a:schemeClr val="tx1">
                    <a:lumMod val="50000"/>
                    <a:lumOff val="50000"/>
                  </a:schemeClr>
                </a:solidFill>
                <a:latin typeface="+mn-lt"/>
              </a:rPr>
              <a:t>|   </a:t>
            </a:r>
            <a:fld id="{785CD681-51D3-414E-83F2-54688883A8C2}" type="slidenum">
              <a:rPr lang="en-US" sz="1000">
                <a:solidFill>
                  <a:schemeClr val="tx1">
                    <a:lumMod val="50000"/>
                    <a:lumOff val="50000"/>
                  </a:schemeClr>
                </a:solidFill>
                <a:latin typeface="+mn-lt"/>
              </a:rPr>
              <a:pPr defTabSz="914400">
                <a:spcAft>
                  <a:spcPts val="600"/>
                </a:spcAft>
              </a:pPr>
              <a:t>27</a:t>
            </a:fld>
            <a:endParaRPr lang="en-US" sz="1000">
              <a:solidFill>
                <a:schemeClr val="tx1">
                  <a:lumMod val="50000"/>
                  <a:lumOff val="50000"/>
                </a:schemeClr>
              </a:solidFill>
              <a:latin typeface="+mn-lt"/>
            </a:endParaRPr>
          </a:p>
        </p:txBody>
      </p:sp>
    </p:spTree>
    <p:extLst>
      <p:ext uri="{BB962C8B-B14F-4D97-AF65-F5344CB8AC3E}">
        <p14:creationId xmlns:p14="http://schemas.microsoft.com/office/powerpoint/2010/main" val="35022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83F01FB-5991-2BFD-846D-487B03853855}"/>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425BAC08-B776-2DED-5873-D3FCE8AFC6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uadroTexto 6">
            <a:extLst>
              <a:ext uri="{FF2B5EF4-FFF2-40B4-BE49-F238E27FC236}">
                <a16:creationId xmlns:a16="http://schemas.microsoft.com/office/drawing/2014/main" id="{083AACDE-990D-5BE7-9BCA-942507C485BF}"/>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a:solidFill>
                  <a:schemeClr val="bg1"/>
                </a:solidFill>
                <a:latin typeface="+mj-lt"/>
                <a:ea typeface="+mj-ea"/>
                <a:cs typeface="+mj-cs"/>
              </a:rPr>
              <a:t>CHALLENGES</a:t>
            </a:r>
            <a:endParaRPr lang="en-US" sz="3200" kern="1200" dirty="0">
              <a:solidFill>
                <a:schemeClr val="bg1"/>
              </a:solidFill>
              <a:latin typeface="+mj-lt"/>
              <a:ea typeface="+mj-ea"/>
              <a:cs typeface="+mj-cs"/>
            </a:endParaRPr>
          </a:p>
        </p:txBody>
      </p:sp>
      <p:sp>
        <p:nvSpPr>
          <p:cNvPr id="3" name="Marcador de número de diapositiva 2">
            <a:extLst>
              <a:ext uri="{FF2B5EF4-FFF2-40B4-BE49-F238E27FC236}">
                <a16:creationId xmlns:a16="http://schemas.microsoft.com/office/drawing/2014/main" id="{9774BB1B-CF06-B10F-B6F0-93C8D741E091}"/>
              </a:ext>
            </a:extLst>
          </p:cNvPr>
          <p:cNvSpPr>
            <a:spLocks noGrp="1"/>
          </p:cNvSpPr>
          <p:nvPr>
            <p:ph type="sldNum" sz="quarter" idx="12"/>
          </p:nvPr>
        </p:nvSpPr>
        <p:spPr>
          <a:xfrm>
            <a:off x="8770088" y="6492875"/>
            <a:ext cx="2743200" cy="365125"/>
          </a:xfrm>
        </p:spPr>
        <p:txBody>
          <a:bodyPr vert="horz" lIns="91440" tIns="45720" rIns="91440" bIns="45720" rtlCol="0" anchor="ctr">
            <a:normAutofit/>
          </a:bodyPr>
          <a:lstStyle/>
          <a:p>
            <a:pPr defTabSz="914400">
              <a:spcAft>
                <a:spcPts val="600"/>
              </a:spcAft>
            </a:pPr>
            <a:r>
              <a:rPr lang="en-US" sz="1200">
                <a:latin typeface="+mn-lt"/>
              </a:rPr>
              <a:t>|   </a:t>
            </a:r>
            <a:fld id="{785CD681-51D3-414E-83F2-54688883A8C2}" type="slidenum">
              <a:rPr lang="en-US" sz="1200" smtClean="0">
                <a:latin typeface="+mn-lt"/>
              </a:rPr>
              <a:pPr defTabSz="914400">
                <a:spcAft>
                  <a:spcPts val="600"/>
                </a:spcAft>
              </a:pPr>
              <a:t>28</a:t>
            </a:fld>
            <a:endParaRPr lang="en-US" sz="1200">
              <a:latin typeface="+mn-lt"/>
            </a:endParaRPr>
          </a:p>
        </p:txBody>
      </p:sp>
      <p:graphicFrame>
        <p:nvGraphicFramePr>
          <p:cNvPr id="5" name="Diagrama 4">
            <a:extLst>
              <a:ext uri="{FF2B5EF4-FFF2-40B4-BE49-F238E27FC236}">
                <a16:creationId xmlns:a16="http://schemas.microsoft.com/office/drawing/2014/main" id="{68C50F07-00D1-617E-C4E3-DCEA3B5CEF3E}"/>
              </a:ext>
            </a:extLst>
          </p:cNvPr>
          <p:cNvGraphicFramePr/>
          <p:nvPr>
            <p:extLst>
              <p:ext uri="{D42A27DB-BD31-4B8C-83A1-F6EECF244321}">
                <p14:modId xmlns:p14="http://schemas.microsoft.com/office/powerpoint/2010/main" val="3931923273"/>
              </p:ext>
            </p:extLst>
          </p:nvPr>
        </p:nvGraphicFramePr>
        <p:xfrm>
          <a:off x="5669281" y="1714935"/>
          <a:ext cx="5486046" cy="43147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Imagen 10">
            <a:extLst>
              <a:ext uri="{FF2B5EF4-FFF2-40B4-BE49-F238E27FC236}">
                <a16:creationId xmlns:a16="http://schemas.microsoft.com/office/drawing/2014/main" id="{24B4A579-0B67-D503-0A5F-56F353297627}"/>
              </a:ext>
            </a:extLst>
          </p:cNvPr>
          <p:cNvPicPr>
            <a:picLocks noChangeAspect="1"/>
          </p:cNvPicPr>
          <p:nvPr/>
        </p:nvPicPr>
        <p:blipFill>
          <a:blip r:embed="rId8"/>
          <a:stretch>
            <a:fillRect/>
          </a:stretch>
        </p:blipFill>
        <p:spPr>
          <a:xfrm>
            <a:off x="233916" y="1608188"/>
            <a:ext cx="5188464" cy="4421529"/>
          </a:xfrm>
          <a:prstGeom prst="rect">
            <a:avLst/>
          </a:prstGeom>
        </p:spPr>
      </p:pic>
    </p:spTree>
    <p:extLst>
      <p:ext uri="{BB962C8B-B14F-4D97-AF65-F5344CB8AC3E}">
        <p14:creationId xmlns:p14="http://schemas.microsoft.com/office/powerpoint/2010/main" val="2688952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ítulo 10">
            <a:extLst>
              <a:ext uri="{FF2B5EF4-FFF2-40B4-BE49-F238E27FC236}">
                <a16:creationId xmlns:a16="http://schemas.microsoft.com/office/drawing/2014/main" id="{3B1CD709-9ACC-43CE-9113-BC16363B6294}"/>
              </a:ext>
            </a:extLst>
          </p:cNvPr>
          <p:cNvSpPr>
            <a:spLocks noGrp="1"/>
          </p:cNvSpPr>
          <p:nvPr>
            <p:ph type="ctrTitle"/>
          </p:nvPr>
        </p:nvSpPr>
        <p:spPr>
          <a:xfrm>
            <a:off x="911406" y="5279242"/>
            <a:ext cx="5184594" cy="679782"/>
          </a:xfrm>
        </p:spPr>
        <p:txBody>
          <a:bodyPr>
            <a:noAutofit/>
          </a:bodyPr>
          <a:lstStyle/>
          <a:p>
            <a:r>
              <a:rPr lang="en-US" sz="3200" b="0" dirty="0">
                <a:cs typeface="Poppins"/>
              </a:rPr>
              <a:t>Vehicle Efficiency Standards: Chile's Experience</a:t>
            </a:r>
            <a:endParaRPr lang="es-ES" sz="3200" b="0" dirty="0">
              <a:cs typeface="Poppins"/>
            </a:endParaRPr>
          </a:p>
        </p:txBody>
      </p:sp>
      <p:sp>
        <p:nvSpPr>
          <p:cNvPr id="13" name="Marcador de texto 12">
            <a:extLst>
              <a:ext uri="{FF2B5EF4-FFF2-40B4-BE49-F238E27FC236}">
                <a16:creationId xmlns:a16="http://schemas.microsoft.com/office/drawing/2014/main" id="{003DCF51-428A-403B-832B-B2C4C32794C9}"/>
              </a:ext>
            </a:extLst>
          </p:cNvPr>
          <p:cNvSpPr>
            <a:spLocks noGrp="1"/>
          </p:cNvSpPr>
          <p:nvPr>
            <p:ph type="body" sz="quarter" idx="10"/>
          </p:nvPr>
        </p:nvSpPr>
        <p:spPr/>
        <p:txBody>
          <a:bodyPr vert="horz" lIns="91440" tIns="45720" rIns="91440" bIns="45720" rtlCol="0" anchor="t">
            <a:noAutofit/>
          </a:bodyPr>
          <a:lstStyle/>
          <a:p>
            <a:r>
              <a:rPr lang="es-ES" dirty="0"/>
              <a:t>Noviembre 2024</a:t>
            </a:r>
          </a:p>
        </p:txBody>
      </p:sp>
    </p:spTree>
    <p:extLst>
      <p:ext uri="{BB962C8B-B14F-4D97-AF65-F5344CB8AC3E}">
        <p14:creationId xmlns:p14="http://schemas.microsoft.com/office/powerpoint/2010/main" val="34259380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uadroTexto 6">
            <a:extLst>
              <a:ext uri="{FF2B5EF4-FFF2-40B4-BE49-F238E27FC236}">
                <a16:creationId xmlns:a16="http://schemas.microsoft.com/office/drawing/2014/main" id="{BE77E811-7156-F0D1-78BE-110CFBE558CA}"/>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dirty="0">
                <a:solidFill>
                  <a:schemeClr val="bg1"/>
                </a:solidFill>
                <a:latin typeface="+mj-lt"/>
                <a:ea typeface="+mj-ea"/>
                <a:cs typeface="+mj-cs"/>
              </a:rPr>
              <a:t>Stages - Vehicle Energy Efficiency</a:t>
            </a:r>
            <a:endParaRPr lang="en-US" sz="3200" kern="1200" dirty="0">
              <a:solidFill>
                <a:schemeClr val="bg1"/>
              </a:solidFill>
              <a:latin typeface="+mj-lt"/>
              <a:ea typeface="+mj-ea"/>
              <a:cs typeface="+mj-cs"/>
            </a:endParaRPr>
          </a:p>
        </p:txBody>
      </p:sp>
      <p:sp>
        <p:nvSpPr>
          <p:cNvPr id="6" name="Rectangle 1">
            <a:hlinkClick r:id="rId3"/>
            <a:extLst>
              <a:ext uri="{FF2B5EF4-FFF2-40B4-BE49-F238E27FC236}">
                <a16:creationId xmlns:a16="http://schemas.microsoft.com/office/drawing/2014/main" id="{9DA3863C-C26A-AD1D-F545-86F0391E49E8}"/>
              </a:ext>
            </a:extLst>
          </p:cNvPr>
          <p:cNvSpPr>
            <a:spLocks noChangeArrowheads="1"/>
          </p:cNvSpPr>
          <p:nvPr/>
        </p:nvSpPr>
        <p:spPr bwMode="auto">
          <a:xfrm>
            <a:off x="838200" y="2713038"/>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L"/>
          </a:p>
        </p:txBody>
      </p:sp>
      <p:graphicFrame>
        <p:nvGraphicFramePr>
          <p:cNvPr id="8" name="Marcador de contenido 2">
            <a:extLst>
              <a:ext uri="{FF2B5EF4-FFF2-40B4-BE49-F238E27FC236}">
                <a16:creationId xmlns:a16="http://schemas.microsoft.com/office/drawing/2014/main" id="{F1429C36-6E42-D6D2-2ED1-7292E3AEA72F}"/>
              </a:ext>
            </a:extLst>
          </p:cNvPr>
          <p:cNvGraphicFramePr/>
          <p:nvPr>
            <p:extLst>
              <p:ext uri="{D42A27DB-BD31-4B8C-83A1-F6EECF244321}">
                <p14:modId xmlns:p14="http://schemas.microsoft.com/office/powerpoint/2010/main" val="4167987251"/>
              </p:ext>
            </p:extLst>
          </p:nvPr>
        </p:nvGraphicFramePr>
        <p:xfrm>
          <a:off x="588644" y="1828094"/>
          <a:ext cx="11428095" cy="4378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ángulo 1">
            <a:extLst>
              <a:ext uri="{FF2B5EF4-FFF2-40B4-BE49-F238E27FC236}">
                <a16:creationId xmlns:a16="http://schemas.microsoft.com/office/drawing/2014/main" id="{AC5FB177-DBE0-8830-AF6D-877EB44B7AE8}"/>
              </a:ext>
            </a:extLst>
          </p:cNvPr>
          <p:cNvSpPr/>
          <p:nvPr/>
        </p:nvSpPr>
        <p:spPr>
          <a:xfrm>
            <a:off x="925830" y="1603252"/>
            <a:ext cx="3406140" cy="45719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dirty="0"/>
              <a:t>1st </a:t>
            </a:r>
            <a:r>
              <a:rPr lang="es-MX" dirty="0" err="1"/>
              <a:t>Stage</a:t>
            </a:r>
            <a:endParaRPr lang="es-CL" dirty="0"/>
          </a:p>
        </p:txBody>
      </p:sp>
      <p:sp>
        <p:nvSpPr>
          <p:cNvPr id="4" name="Rectángulo 3">
            <a:extLst>
              <a:ext uri="{FF2B5EF4-FFF2-40B4-BE49-F238E27FC236}">
                <a16:creationId xmlns:a16="http://schemas.microsoft.com/office/drawing/2014/main" id="{949E6E53-69B8-D7F2-5D15-6ED9747602BA}"/>
              </a:ext>
            </a:extLst>
          </p:cNvPr>
          <p:cNvSpPr/>
          <p:nvPr/>
        </p:nvSpPr>
        <p:spPr>
          <a:xfrm>
            <a:off x="4331970" y="1612176"/>
            <a:ext cx="2426970" cy="448275"/>
          </a:xfrm>
          <a:prstGeom prst="rect">
            <a:avLst/>
          </a:prstGeom>
          <a:ln>
            <a:solidFill>
              <a:srgbClr val="68B0AB"/>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s-MX" dirty="0"/>
              <a:t>Step 2</a:t>
            </a:r>
            <a:endParaRPr lang="es-CL" dirty="0"/>
          </a:p>
        </p:txBody>
      </p:sp>
      <p:sp>
        <p:nvSpPr>
          <p:cNvPr id="5" name="Rectángulo 4">
            <a:extLst>
              <a:ext uri="{FF2B5EF4-FFF2-40B4-BE49-F238E27FC236}">
                <a16:creationId xmlns:a16="http://schemas.microsoft.com/office/drawing/2014/main" id="{AF7153E2-8982-8FAB-72DB-7876F44548A9}"/>
              </a:ext>
            </a:extLst>
          </p:cNvPr>
          <p:cNvSpPr/>
          <p:nvPr/>
        </p:nvSpPr>
        <p:spPr>
          <a:xfrm>
            <a:off x="6758940" y="1612176"/>
            <a:ext cx="4827270" cy="445153"/>
          </a:xfrm>
          <a:prstGeom prst="rect">
            <a:avLst/>
          </a:prstGeom>
          <a:solidFill>
            <a:srgbClr val="00B050"/>
          </a:solidFill>
          <a:ln>
            <a:solidFill>
              <a:srgbClr val="00B050"/>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s-MX" dirty="0"/>
              <a:t>3rd </a:t>
            </a:r>
            <a:r>
              <a:rPr lang="es-MX" dirty="0" err="1"/>
              <a:t>Stage</a:t>
            </a:r>
            <a:endParaRPr lang="es-CL" dirty="0"/>
          </a:p>
        </p:txBody>
      </p:sp>
      <p:sp>
        <p:nvSpPr>
          <p:cNvPr id="9" name="Marcador de número de diapositiva 4">
            <a:extLst>
              <a:ext uri="{FF2B5EF4-FFF2-40B4-BE49-F238E27FC236}">
                <a16:creationId xmlns:a16="http://schemas.microsoft.com/office/drawing/2014/main" id="{D7812B9C-CA18-A783-F5CC-8457A5BB39D7}"/>
              </a:ext>
            </a:extLst>
          </p:cNvPr>
          <p:cNvSpPr>
            <a:spLocks noGrp="1"/>
          </p:cNvSpPr>
          <p:nvPr>
            <p:ph type="sldNum" sz="quarter" idx="12"/>
          </p:nvPr>
        </p:nvSpPr>
        <p:spPr>
          <a:xfrm>
            <a:off x="11134725" y="6554574"/>
            <a:ext cx="722313" cy="303426"/>
          </a:xfrm>
        </p:spPr>
        <p:txBody>
          <a:bodyPr/>
          <a:lstStyle/>
          <a:p>
            <a:r>
              <a:rPr lang="es-CL" dirty="0"/>
              <a:t>|   </a:t>
            </a:r>
            <a:fld id="{785CD681-51D3-414E-83F2-54688883A8C2}" type="slidenum">
              <a:rPr lang="es-CL" smtClean="0"/>
              <a:pPr/>
              <a:t>3</a:t>
            </a:fld>
            <a:endParaRPr lang="es-CL" dirty="0"/>
          </a:p>
        </p:txBody>
      </p:sp>
    </p:spTree>
    <p:extLst>
      <p:ext uri="{BB962C8B-B14F-4D97-AF65-F5344CB8AC3E}">
        <p14:creationId xmlns:p14="http://schemas.microsoft.com/office/powerpoint/2010/main" val="3208380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37CFB-D24B-8622-E4D4-63094E868D9E}"/>
            </a:ext>
          </a:extLst>
        </p:cNvPr>
        <p:cNvGrpSpPr/>
        <p:nvPr/>
      </p:nvGrpSpPr>
      <p:grpSpPr>
        <a:xfrm>
          <a:off x="0" y="0"/>
          <a:ext cx="0" cy="0"/>
          <a:chOff x="0" y="0"/>
          <a:chExt cx="0" cy="0"/>
        </a:xfrm>
      </p:grpSpPr>
      <p:sp>
        <p:nvSpPr>
          <p:cNvPr id="10" name="Rectángulo 9">
            <a:extLst>
              <a:ext uri="{FF2B5EF4-FFF2-40B4-BE49-F238E27FC236}">
                <a16:creationId xmlns:a16="http://schemas.microsoft.com/office/drawing/2014/main" id="{6F8B17F7-7F67-6B35-FE34-CEE19F95CCD0}"/>
              </a:ext>
            </a:extLst>
          </p:cNvPr>
          <p:cNvSpPr/>
          <p:nvPr/>
        </p:nvSpPr>
        <p:spPr>
          <a:xfrm>
            <a:off x="0" y="643467"/>
            <a:ext cx="12192000" cy="7448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CuadroTexto 6">
            <a:extLst>
              <a:ext uri="{FF2B5EF4-FFF2-40B4-BE49-F238E27FC236}">
                <a16:creationId xmlns:a16="http://schemas.microsoft.com/office/drawing/2014/main" id="{32E1881D-8EFA-5C2F-DD0A-215ACE2DD84B}"/>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dirty="0">
                <a:solidFill>
                  <a:schemeClr val="bg1"/>
                </a:solidFill>
                <a:latin typeface="+mj-lt"/>
                <a:ea typeface="+mj-ea"/>
                <a:cs typeface="+mj-cs"/>
              </a:rPr>
              <a:t>Stages - Vehicle Energy Efficiency</a:t>
            </a:r>
            <a:endParaRPr lang="en-US" sz="3200" kern="1200" dirty="0">
              <a:solidFill>
                <a:schemeClr val="bg1"/>
              </a:solidFill>
              <a:latin typeface="+mj-lt"/>
              <a:ea typeface="+mj-ea"/>
              <a:cs typeface="+mj-cs"/>
            </a:endParaRPr>
          </a:p>
        </p:txBody>
      </p:sp>
      <p:sp>
        <p:nvSpPr>
          <p:cNvPr id="6" name="Rectangle 1">
            <a:hlinkClick r:id="rId3"/>
            <a:extLst>
              <a:ext uri="{FF2B5EF4-FFF2-40B4-BE49-F238E27FC236}">
                <a16:creationId xmlns:a16="http://schemas.microsoft.com/office/drawing/2014/main" id="{4783C41B-4A6E-98C1-85A1-85EA17B1F115}"/>
              </a:ext>
            </a:extLst>
          </p:cNvPr>
          <p:cNvSpPr>
            <a:spLocks noChangeArrowheads="1"/>
          </p:cNvSpPr>
          <p:nvPr/>
        </p:nvSpPr>
        <p:spPr bwMode="auto">
          <a:xfrm>
            <a:off x="838200" y="2713038"/>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L"/>
          </a:p>
        </p:txBody>
      </p:sp>
      <p:graphicFrame>
        <p:nvGraphicFramePr>
          <p:cNvPr id="8" name="Marcador de contenido 2">
            <a:extLst>
              <a:ext uri="{FF2B5EF4-FFF2-40B4-BE49-F238E27FC236}">
                <a16:creationId xmlns:a16="http://schemas.microsoft.com/office/drawing/2014/main" id="{A86981B8-DCB6-1E2B-5A50-BE362CB9DD7F}"/>
              </a:ext>
            </a:extLst>
          </p:cNvPr>
          <p:cNvGraphicFramePr/>
          <p:nvPr/>
        </p:nvGraphicFramePr>
        <p:xfrm>
          <a:off x="588644" y="1828094"/>
          <a:ext cx="11428095" cy="4378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ángulo 1">
            <a:extLst>
              <a:ext uri="{FF2B5EF4-FFF2-40B4-BE49-F238E27FC236}">
                <a16:creationId xmlns:a16="http://schemas.microsoft.com/office/drawing/2014/main" id="{9E436B9F-C3EE-0D30-934C-1F7FA89A7896}"/>
              </a:ext>
            </a:extLst>
          </p:cNvPr>
          <p:cNvSpPr/>
          <p:nvPr/>
        </p:nvSpPr>
        <p:spPr>
          <a:xfrm>
            <a:off x="925830" y="1603252"/>
            <a:ext cx="3406140" cy="45719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dirty="0"/>
              <a:t>1st </a:t>
            </a:r>
            <a:r>
              <a:rPr lang="es-MX" dirty="0" err="1"/>
              <a:t>Stage</a:t>
            </a:r>
            <a:endParaRPr lang="es-CL" dirty="0"/>
          </a:p>
        </p:txBody>
      </p:sp>
      <p:sp>
        <p:nvSpPr>
          <p:cNvPr id="4" name="Rectángulo 3">
            <a:extLst>
              <a:ext uri="{FF2B5EF4-FFF2-40B4-BE49-F238E27FC236}">
                <a16:creationId xmlns:a16="http://schemas.microsoft.com/office/drawing/2014/main" id="{82045A97-23A0-EF86-0B23-A3AA1E94E990}"/>
              </a:ext>
            </a:extLst>
          </p:cNvPr>
          <p:cNvSpPr/>
          <p:nvPr/>
        </p:nvSpPr>
        <p:spPr>
          <a:xfrm>
            <a:off x="4331970" y="1612176"/>
            <a:ext cx="2426970" cy="448275"/>
          </a:xfrm>
          <a:prstGeom prst="rect">
            <a:avLst/>
          </a:prstGeom>
          <a:ln>
            <a:solidFill>
              <a:srgbClr val="68B0AB"/>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s-MX" dirty="0"/>
              <a:t>Step 2</a:t>
            </a:r>
            <a:endParaRPr lang="es-CL" dirty="0"/>
          </a:p>
        </p:txBody>
      </p:sp>
      <p:sp>
        <p:nvSpPr>
          <p:cNvPr id="5" name="Rectángulo 4">
            <a:extLst>
              <a:ext uri="{FF2B5EF4-FFF2-40B4-BE49-F238E27FC236}">
                <a16:creationId xmlns:a16="http://schemas.microsoft.com/office/drawing/2014/main" id="{A1342B6E-BE82-772B-7FC6-D34B2D87F4AB}"/>
              </a:ext>
            </a:extLst>
          </p:cNvPr>
          <p:cNvSpPr/>
          <p:nvPr/>
        </p:nvSpPr>
        <p:spPr>
          <a:xfrm>
            <a:off x="6758940" y="1612176"/>
            <a:ext cx="4827270" cy="445153"/>
          </a:xfrm>
          <a:prstGeom prst="rect">
            <a:avLst/>
          </a:prstGeom>
          <a:solidFill>
            <a:srgbClr val="00B050"/>
          </a:solidFill>
          <a:ln>
            <a:solidFill>
              <a:srgbClr val="00B050"/>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s-MX" dirty="0"/>
              <a:t>3rd </a:t>
            </a:r>
            <a:r>
              <a:rPr lang="es-MX" dirty="0" err="1"/>
              <a:t>Stage</a:t>
            </a:r>
            <a:endParaRPr lang="es-CL" dirty="0"/>
          </a:p>
        </p:txBody>
      </p:sp>
      <p:sp>
        <p:nvSpPr>
          <p:cNvPr id="9" name="Marcador de número de diapositiva 4">
            <a:extLst>
              <a:ext uri="{FF2B5EF4-FFF2-40B4-BE49-F238E27FC236}">
                <a16:creationId xmlns:a16="http://schemas.microsoft.com/office/drawing/2014/main" id="{EB14B3B3-D446-7391-79CC-FDB46FA4152F}"/>
              </a:ext>
            </a:extLst>
          </p:cNvPr>
          <p:cNvSpPr>
            <a:spLocks noGrp="1"/>
          </p:cNvSpPr>
          <p:nvPr>
            <p:ph type="sldNum" sz="quarter" idx="12"/>
          </p:nvPr>
        </p:nvSpPr>
        <p:spPr>
          <a:xfrm>
            <a:off x="11134725" y="6554574"/>
            <a:ext cx="722313" cy="303426"/>
          </a:xfrm>
        </p:spPr>
        <p:txBody>
          <a:bodyPr/>
          <a:lstStyle/>
          <a:p>
            <a:r>
              <a:rPr lang="es-CL" dirty="0"/>
              <a:t>|   </a:t>
            </a:r>
            <a:fld id="{785CD681-51D3-414E-83F2-54688883A8C2}" type="slidenum">
              <a:rPr lang="es-CL" smtClean="0"/>
              <a:pPr/>
              <a:t>4</a:t>
            </a:fld>
            <a:endParaRPr lang="es-CL" dirty="0"/>
          </a:p>
        </p:txBody>
      </p:sp>
      <p:sp>
        <p:nvSpPr>
          <p:cNvPr id="3" name="Elipse 2">
            <a:extLst>
              <a:ext uri="{FF2B5EF4-FFF2-40B4-BE49-F238E27FC236}">
                <a16:creationId xmlns:a16="http://schemas.microsoft.com/office/drawing/2014/main" id="{3A97A214-94A2-D0E0-1418-3A85118C3447}"/>
              </a:ext>
            </a:extLst>
          </p:cNvPr>
          <p:cNvSpPr/>
          <p:nvPr/>
        </p:nvSpPr>
        <p:spPr>
          <a:xfrm>
            <a:off x="175261" y="1396588"/>
            <a:ext cx="5219699" cy="4959761"/>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209014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uadroTexto 6">
            <a:extLst>
              <a:ext uri="{FF2B5EF4-FFF2-40B4-BE49-F238E27FC236}">
                <a16:creationId xmlns:a16="http://schemas.microsoft.com/office/drawing/2014/main" id="{BE77E811-7156-F0D1-78BE-110CFBE558CA}"/>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a:solidFill>
                  <a:schemeClr val="bg1"/>
                </a:solidFill>
                <a:latin typeface="+mj-lt"/>
                <a:ea typeface="+mj-ea"/>
                <a:cs typeface="+mj-cs"/>
              </a:rPr>
              <a:t>1st Stage – EE Label</a:t>
            </a:r>
            <a:endParaRPr lang="en-US" sz="3200" kern="1200" dirty="0">
              <a:solidFill>
                <a:schemeClr val="bg1"/>
              </a:solidFill>
              <a:latin typeface="+mj-lt"/>
              <a:ea typeface="+mj-ea"/>
              <a:cs typeface="+mj-cs"/>
            </a:endParaRPr>
          </a:p>
        </p:txBody>
      </p:sp>
      <p:graphicFrame>
        <p:nvGraphicFramePr>
          <p:cNvPr id="5" name="Diagrama 4">
            <a:extLst>
              <a:ext uri="{FF2B5EF4-FFF2-40B4-BE49-F238E27FC236}">
                <a16:creationId xmlns:a16="http://schemas.microsoft.com/office/drawing/2014/main" id="{33DF78CA-D926-1235-00E2-8BFAA69F9B3B}"/>
              </a:ext>
            </a:extLst>
          </p:cNvPr>
          <p:cNvGraphicFramePr/>
          <p:nvPr>
            <p:extLst>
              <p:ext uri="{D42A27DB-BD31-4B8C-83A1-F6EECF244321}">
                <p14:modId xmlns:p14="http://schemas.microsoft.com/office/powerpoint/2010/main" val="4130047736"/>
              </p:ext>
            </p:extLst>
          </p:nvPr>
        </p:nvGraphicFramePr>
        <p:xfrm>
          <a:off x="5669281" y="1714935"/>
          <a:ext cx="5486046" cy="43147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Imagen 1">
            <a:extLst>
              <a:ext uri="{FF2B5EF4-FFF2-40B4-BE49-F238E27FC236}">
                <a16:creationId xmlns:a16="http://schemas.microsoft.com/office/drawing/2014/main" id="{A3565E59-821F-1F7E-EB6E-3E64E5E67C37}"/>
              </a:ext>
            </a:extLst>
          </p:cNvPr>
          <p:cNvPicPr>
            <a:picLocks noChangeAspect="1"/>
          </p:cNvPicPr>
          <p:nvPr/>
        </p:nvPicPr>
        <p:blipFill>
          <a:blip r:embed="rId8"/>
          <a:stretch>
            <a:fillRect/>
          </a:stretch>
        </p:blipFill>
        <p:spPr>
          <a:xfrm>
            <a:off x="805426" y="1714935"/>
            <a:ext cx="3026788" cy="4314783"/>
          </a:xfrm>
          <a:prstGeom prst="rect">
            <a:avLst/>
          </a:prstGeom>
        </p:spPr>
      </p:pic>
      <p:sp>
        <p:nvSpPr>
          <p:cNvPr id="8" name="CuadroTexto 7">
            <a:extLst>
              <a:ext uri="{FF2B5EF4-FFF2-40B4-BE49-F238E27FC236}">
                <a16:creationId xmlns:a16="http://schemas.microsoft.com/office/drawing/2014/main" id="{D6724853-F084-82FA-6384-72F305028648}"/>
              </a:ext>
            </a:extLst>
          </p:cNvPr>
          <p:cNvSpPr txBox="1"/>
          <p:nvPr/>
        </p:nvSpPr>
        <p:spPr>
          <a:xfrm>
            <a:off x="367922" y="5472900"/>
            <a:ext cx="4032628" cy="369332"/>
          </a:xfrm>
          <a:prstGeom prst="rect">
            <a:avLst/>
          </a:prstGeom>
          <a:noFill/>
        </p:spPr>
        <p:txBody>
          <a:bodyPr wrap="square">
            <a:spAutoFit/>
          </a:bodyPr>
          <a:lstStyle/>
          <a:p>
            <a:r>
              <a:rPr lang="es-CL" b="1"/>
              <a:t>https://www.consumovehicular.cl</a:t>
            </a:r>
          </a:p>
        </p:txBody>
      </p:sp>
      <p:sp>
        <p:nvSpPr>
          <p:cNvPr id="4" name="Marcador de número de diapositiva 4">
            <a:extLst>
              <a:ext uri="{FF2B5EF4-FFF2-40B4-BE49-F238E27FC236}">
                <a16:creationId xmlns:a16="http://schemas.microsoft.com/office/drawing/2014/main" id="{B153E135-716F-1336-AC2B-621F72AC3410}"/>
              </a:ext>
            </a:extLst>
          </p:cNvPr>
          <p:cNvSpPr>
            <a:spLocks noGrp="1"/>
          </p:cNvSpPr>
          <p:nvPr>
            <p:ph type="sldNum" sz="quarter" idx="12"/>
          </p:nvPr>
        </p:nvSpPr>
        <p:spPr>
          <a:xfrm>
            <a:off x="11134725" y="6554574"/>
            <a:ext cx="722313" cy="303426"/>
          </a:xfrm>
        </p:spPr>
        <p:txBody>
          <a:bodyPr/>
          <a:lstStyle/>
          <a:p>
            <a:r>
              <a:rPr lang="es-CL" dirty="0"/>
              <a:t>|   </a:t>
            </a:r>
            <a:fld id="{785CD681-51D3-414E-83F2-54688883A8C2}" type="slidenum">
              <a:rPr lang="es-CL" smtClean="0"/>
              <a:pPr/>
              <a:t>5</a:t>
            </a:fld>
            <a:endParaRPr lang="es-CL" dirty="0"/>
          </a:p>
        </p:txBody>
      </p:sp>
    </p:spTree>
    <p:extLst>
      <p:ext uri="{BB962C8B-B14F-4D97-AF65-F5344CB8AC3E}">
        <p14:creationId xmlns:p14="http://schemas.microsoft.com/office/powerpoint/2010/main" val="166762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F2618-3CC1-5012-CB88-AA07ACD397B9}"/>
            </a:ext>
          </a:extLst>
        </p:cNvPr>
        <p:cNvGrpSpPr/>
        <p:nvPr/>
      </p:nvGrpSpPr>
      <p:grpSpPr>
        <a:xfrm>
          <a:off x="0" y="0"/>
          <a:ext cx="0" cy="0"/>
          <a:chOff x="0" y="0"/>
          <a:chExt cx="0" cy="0"/>
        </a:xfrm>
      </p:grpSpPr>
      <p:sp>
        <p:nvSpPr>
          <p:cNvPr id="10" name="Rectángulo 9">
            <a:extLst>
              <a:ext uri="{FF2B5EF4-FFF2-40B4-BE49-F238E27FC236}">
                <a16:creationId xmlns:a16="http://schemas.microsoft.com/office/drawing/2014/main" id="{D89FBDD9-4EEC-C3E1-A008-C0B1EB2438AE}"/>
              </a:ext>
            </a:extLst>
          </p:cNvPr>
          <p:cNvSpPr/>
          <p:nvPr/>
        </p:nvSpPr>
        <p:spPr>
          <a:xfrm>
            <a:off x="0" y="643467"/>
            <a:ext cx="12192000" cy="7448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CuadroTexto 6">
            <a:extLst>
              <a:ext uri="{FF2B5EF4-FFF2-40B4-BE49-F238E27FC236}">
                <a16:creationId xmlns:a16="http://schemas.microsoft.com/office/drawing/2014/main" id="{039B810E-F60B-7F2F-EBB1-995FF49DE828}"/>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dirty="0">
                <a:solidFill>
                  <a:schemeClr val="bg1"/>
                </a:solidFill>
                <a:latin typeface="+mj-lt"/>
                <a:ea typeface="+mj-ea"/>
                <a:cs typeface="+mj-cs"/>
              </a:rPr>
              <a:t>Stages - Vehicle Energy Efficiency</a:t>
            </a:r>
            <a:endParaRPr lang="en-US" sz="3200" kern="1200" dirty="0">
              <a:solidFill>
                <a:schemeClr val="bg1"/>
              </a:solidFill>
              <a:latin typeface="+mj-lt"/>
              <a:ea typeface="+mj-ea"/>
              <a:cs typeface="+mj-cs"/>
            </a:endParaRPr>
          </a:p>
        </p:txBody>
      </p:sp>
      <p:sp>
        <p:nvSpPr>
          <p:cNvPr id="6" name="Rectangle 1">
            <a:hlinkClick r:id="rId3"/>
            <a:extLst>
              <a:ext uri="{FF2B5EF4-FFF2-40B4-BE49-F238E27FC236}">
                <a16:creationId xmlns:a16="http://schemas.microsoft.com/office/drawing/2014/main" id="{349340E6-DA2E-1C82-6CC0-538190A50B9B}"/>
              </a:ext>
            </a:extLst>
          </p:cNvPr>
          <p:cNvSpPr>
            <a:spLocks noChangeArrowheads="1"/>
          </p:cNvSpPr>
          <p:nvPr/>
        </p:nvSpPr>
        <p:spPr bwMode="auto">
          <a:xfrm>
            <a:off x="838200" y="2713038"/>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L"/>
          </a:p>
        </p:txBody>
      </p:sp>
      <p:graphicFrame>
        <p:nvGraphicFramePr>
          <p:cNvPr id="8" name="Marcador de contenido 2">
            <a:extLst>
              <a:ext uri="{FF2B5EF4-FFF2-40B4-BE49-F238E27FC236}">
                <a16:creationId xmlns:a16="http://schemas.microsoft.com/office/drawing/2014/main" id="{33B3DFA0-F997-36B9-DF03-B66D1A30FDEA}"/>
              </a:ext>
            </a:extLst>
          </p:cNvPr>
          <p:cNvGraphicFramePr/>
          <p:nvPr/>
        </p:nvGraphicFramePr>
        <p:xfrm>
          <a:off x="588644" y="1828094"/>
          <a:ext cx="11428095" cy="43781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ángulo 1">
            <a:extLst>
              <a:ext uri="{FF2B5EF4-FFF2-40B4-BE49-F238E27FC236}">
                <a16:creationId xmlns:a16="http://schemas.microsoft.com/office/drawing/2014/main" id="{7F3E22B0-3325-576B-5DC3-9E3D7469233A}"/>
              </a:ext>
            </a:extLst>
          </p:cNvPr>
          <p:cNvSpPr/>
          <p:nvPr/>
        </p:nvSpPr>
        <p:spPr>
          <a:xfrm>
            <a:off x="925830" y="1603252"/>
            <a:ext cx="3406140" cy="45719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MX" dirty="0"/>
              <a:t>1st </a:t>
            </a:r>
            <a:r>
              <a:rPr lang="es-MX" dirty="0" err="1"/>
              <a:t>Stage</a:t>
            </a:r>
            <a:endParaRPr lang="es-CL" dirty="0"/>
          </a:p>
        </p:txBody>
      </p:sp>
      <p:sp>
        <p:nvSpPr>
          <p:cNvPr id="4" name="Rectángulo 3">
            <a:extLst>
              <a:ext uri="{FF2B5EF4-FFF2-40B4-BE49-F238E27FC236}">
                <a16:creationId xmlns:a16="http://schemas.microsoft.com/office/drawing/2014/main" id="{13D1FAD0-B7F4-CC89-6EE7-CF88827058AD}"/>
              </a:ext>
            </a:extLst>
          </p:cNvPr>
          <p:cNvSpPr/>
          <p:nvPr/>
        </p:nvSpPr>
        <p:spPr>
          <a:xfrm>
            <a:off x="4331970" y="1612176"/>
            <a:ext cx="2426970" cy="448275"/>
          </a:xfrm>
          <a:prstGeom prst="rect">
            <a:avLst/>
          </a:prstGeom>
          <a:ln>
            <a:solidFill>
              <a:srgbClr val="68B0AB"/>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s-MX" dirty="0"/>
              <a:t>Step 2</a:t>
            </a:r>
            <a:endParaRPr lang="es-CL" dirty="0"/>
          </a:p>
        </p:txBody>
      </p:sp>
      <p:sp>
        <p:nvSpPr>
          <p:cNvPr id="5" name="Rectángulo 4">
            <a:extLst>
              <a:ext uri="{FF2B5EF4-FFF2-40B4-BE49-F238E27FC236}">
                <a16:creationId xmlns:a16="http://schemas.microsoft.com/office/drawing/2014/main" id="{443FECB2-7963-6F96-CF18-48FFB669B3F4}"/>
              </a:ext>
            </a:extLst>
          </p:cNvPr>
          <p:cNvSpPr/>
          <p:nvPr/>
        </p:nvSpPr>
        <p:spPr>
          <a:xfrm>
            <a:off x="6758940" y="1612176"/>
            <a:ext cx="4827270" cy="445153"/>
          </a:xfrm>
          <a:prstGeom prst="rect">
            <a:avLst/>
          </a:prstGeom>
          <a:solidFill>
            <a:srgbClr val="00B050"/>
          </a:solidFill>
          <a:ln>
            <a:solidFill>
              <a:srgbClr val="00B050"/>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s-MX" dirty="0"/>
              <a:t>3rd </a:t>
            </a:r>
            <a:r>
              <a:rPr lang="es-MX" dirty="0" err="1"/>
              <a:t>Stage</a:t>
            </a:r>
            <a:endParaRPr lang="es-CL" dirty="0"/>
          </a:p>
        </p:txBody>
      </p:sp>
      <p:sp>
        <p:nvSpPr>
          <p:cNvPr id="9" name="Marcador de número de diapositiva 4">
            <a:extLst>
              <a:ext uri="{FF2B5EF4-FFF2-40B4-BE49-F238E27FC236}">
                <a16:creationId xmlns:a16="http://schemas.microsoft.com/office/drawing/2014/main" id="{DB707C0E-1E17-081C-06B9-1F4775840CEC}"/>
              </a:ext>
            </a:extLst>
          </p:cNvPr>
          <p:cNvSpPr>
            <a:spLocks noGrp="1"/>
          </p:cNvSpPr>
          <p:nvPr>
            <p:ph type="sldNum" sz="quarter" idx="12"/>
          </p:nvPr>
        </p:nvSpPr>
        <p:spPr>
          <a:xfrm>
            <a:off x="11134725" y="6554574"/>
            <a:ext cx="722313" cy="303426"/>
          </a:xfrm>
        </p:spPr>
        <p:txBody>
          <a:bodyPr/>
          <a:lstStyle/>
          <a:p>
            <a:r>
              <a:rPr lang="es-CL" dirty="0"/>
              <a:t>|   </a:t>
            </a:r>
            <a:fld id="{785CD681-51D3-414E-83F2-54688883A8C2}" type="slidenum">
              <a:rPr lang="es-CL" smtClean="0"/>
              <a:pPr/>
              <a:t>6</a:t>
            </a:fld>
            <a:endParaRPr lang="es-CL" dirty="0"/>
          </a:p>
        </p:txBody>
      </p:sp>
      <p:sp>
        <p:nvSpPr>
          <p:cNvPr id="3" name="Elipse 2">
            <a:extLst>
              <a:ext uri="{FF2B5EF4-FFF2-40B4-BE49-F238E27FC236}">
                <a16:creationId xmlns:a16="http://schemas.microsoft.com/office/drawing/2014/main" id="{18D7B040-6F9B-D49A-E0FD-B7A94F840748}"/>
              </a:ext>
            </a:extLst>
          </p:cNvPr>
          <p:cNvSpPr/>
          <p:nvPr/>
        </p:nvSpPr>
        <p:spPr>
          <a:xfrm>
            <a:off x="3026616" y="1207882"/>
            <a:ext cx="5219699" cy="4959761"/>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64672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uadroTexto 6">
            <a:extLst>
              <a:ext uri="{FF2B5EF4-FFF2-40B4-BE49-F238E27FC236}">
                <a16:creationId xmlns:a16="http://schemas.microsoft.com/office/drawing/2014/main" id="{BE77E811-7156-F0D1-78BE-110CFBE558CA}"/>
              </a:ext>
            </a:extLst>
          </p:cNvPr>
          <p:cNvSpPr txBox="1"/>
          <p:nvPr/>
        </p:nvSpPr>
        <p:spPr>
          <a:xfrm>
            <a:off x="556532" y="643467"/>
            <a:ext cx="11210925" cy="74483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3200" dirty="0">
                <a:solidFill>
                  <a:schemeClr val="bg1"/>
                </a:solidFill>
                <a:latin typeface="+mj-lt"/>
                <a:ea typeface="+mj-ea"/>
                <a:cs typeface="+mj-cs"/>
              </a:rPr>
              <a:t>Stage 2: Draft EE Law</a:t>
            </a:r>
            <a:endParaRPr lang="en-US" sz="3200" kern="1200" dirty="0">
              <a:solidFill>
                <a:schemeClr val="bg1"/>
              </a:solidFill>
              <a:latin typeface="+mj-lt"/>
              <a:ea typeface="+mj-ea"/>
              <a:cs typeface="+mj-cs"/>
            </a:endParaRPr>
          </a:p>
        </p:txBody>
      </p:sp>
      <p:graphicFrame>
        <p:nvGraphicFramePr>
          <p:cNvPr id="5" name="Diagrama 4">
            <a:extLst>
              <a:ext uri="{FF2B5EF4-FFF2-40B4-BE49-F238E27FC236}">
                <a16:creationId xmlns:a16="http://schemas.microsoft.com/office/drawing/2014/main" id="{33DF78CA-D926-1235-00E2-8BFAA69F9B3B}"/>
              </a:ext>
            </a:extLst>
          </p:cNvPr>
          <p:cNvGraphicFramePr/>
          <p:nvPr>
            <p:extLst>
              <p:ext uri="{D42A27DB-BD31-4B8C-83A1-F6EECF244321}">
                <p14:modId xmlns:p14="http://schemas.microsoft.com/office/powerpoint/2010/main" val="1465275363"/>
              </p:ext>
            </p:extLst>
          </p:nvPr>
        </p:nvGraphicFramePr>
        <p:xfrm>
          <a:off x="2388870" y="1388304"/>
          <a:ext cx="8103870" cy="51953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Marcador de número de diapositiva 4">
            <a:extLst>
              <a:ext uri="{FF2B5EF4-FFF2-40B4-BE49-F238E27FC236}">
                <a16:creationId xmlns:a16="http://schemas.microsoft.com/office/drawing/2014/main" id="{E321A248-61B6-CA4A-7F04-314E1C729047}"/>
              </a:ext>
            </a:extLst>
          </p:cNvPr>
          <p:cNvSpPr txBox="1">
            <a:spLocks/>
          </p:cNvSpPr>
          <p:nvPr/>
        </p:nvSpPr>
        <p:spPr>
          <a:xfrm>
            <a:off x="11134725" y="6554574"/>
            <a:ext cx="722313" cy="303426"/>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chemeClr val="bg1"/>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s-CL"/>
              <a:t>|   </a:t>
            </a:r>
            <a:fld id="{785CD681-51D3-414E-83F2-54688883A8C2}" type="slidenum">
              <a:rPr lang="es-CL" smtClean="0"/>
              <a:pPr/>
              <a:t>7</a:t>
            </a:fld>
            <a:endParaRPr lang="es-CL" dirty="0"/>
          </a:p>
        </p:txBody>
      </p:sp>
    </p:spTree>
    <p:extLst>
      <p:ext uri="{BB962C8B-B14F-4D97-AF65-F5344CB8AC3E}">
        <p14:creationId xmlns:p14="http://schemas.microsoft.com/office/powerpoint/2010/main" val="370274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B6DDAE1-3B1F-1043-A462-C63C25CFACFD}"/>
              </a:ext>
            </a:extLst>
          </p:cNvPr>
          <p:cNvSpPr>
            <a:spLocks noGrp="1"/>
          </p:cNvSpPr>
          <p:nvPr>
            <p:ph type="title"/>
          </p:nvPr>
        </p:nvSpPr>
        <p:spPr>
          <a:xfrm>
            <a:off x="623888" y="168563"/>
            <a:ext cx="9477644" cy="883951"/>
          </a:xfrm>
        </p:spPr>
        <p:txBody>
          <a:bodyPr/>
          <a:lstStyle/>
          <a:p>
            <a:r>
              <a:rPr lang="es-CL" dirty="0" err="1"/>
              <a:t>Considerations</a:t>
            </a:r>
            <a:endParaRPr lang="es-CL" dirty="0"/>
          </a:p>
        </p:txBody>
      </p:sp>
      <p:sp>
        <p:nvSpPr>
          <p:cNvPr id="3" name="Marcador de pie de página 2">
            <a:extLst>
              <a:ext uri="{FF2B5EF4-FFF2-40B4-BE49-F238E27FC236}">
                <a16:creationId xmlns:a16="http://schemas.microsoft.com/office/drawing/2014/main" id="{288BC928-FBF5-6C49-92D8-5F029D39992D}"/>
              </a:ext>
            </a:extLst>
          </p:cNvPr>
          <p:cNvSpPr>
            <a:spLocks noGrp="1"/>
          </p:cNvSpPr>
          <p:nvPr>
            <p:ph type="ftr" sz="quarter" idx="11"/>
          </p:nvPr>
        </p:nvSpPr>
        <p:spPr>
          <a:xfrm>
            <a:off x="6450804" y="6561138"/>
            <a:ext cx="4887628" cy="303426"/>
          </a:xfrm>
        </p:spPr>
        <p:txBody>
          <a:bodyPr/>
          <a:lstStyle/>
          <a:p>
            <a:endParaRPr lang="es-CL"/>
          </a:p>
        </p:txBody>
      </p:sp>
      <p:sp>
        <p:nvSpPr>
          <p:cNvPr id="4" name="Marcador de número de diapositiva 3">
            <a:extLst>
              <a:ext uri="{FF2B5EF4-FFF2-40B4-BE49-F238E27FC236}">
                <a16:creationId xmlns:a16="http://schemas.microsoft.com/office/drawing/2014/main" id="{EBCF417E-302F-6646-9CFA-41665AFF1F35}"/>
              </a:ext>
            </a:extLst>
          </p:cNvPr>
          <p:cNvSpPr>
            <a:spLocks noGrp="1"/>
          </p:cNvSpPr>
          <p:nvPr>
            <p:ph type="sldNum" sz="quarter" idx="12"/>
          </p:nvPr>
        </p:nvSpPr>
        <p:spPr>
          <a:xfrm>
            <a:off x="11134725" y="6554574"/>
            <a:ext cx="722313" cy="303426"/>
          </a:xfrm>
        </p:spPr>
        <p:txBody>
          <a:bodyPr/>
          <a:lstStyle/>
          <a:p>
            <a:r>
              <a:rPr lang="es-CL"/>
              <a:t>|   </a:t>
            </a:r>
            <a:fld id="{785CD681-51D3-414E-83F2-54688883A8C2}" type="slidenum">
              <a:rPr lang="es-CL" smtClean="0"/>
              <a:pPr/>
              <a:t>8</a:t>
            </a:fld>
            <a:endParaRPr lang="es-CL"/>
          </a:p>
        </p:txBody>
      </p:sp>
      <p:sp>
        <p:nvSpPr>
          <p:cNvPr id="5" name="Marcador de texto 4">
            <a:extLst>
              <a:ext uri="{FF2B5EF4-FFF2-40B4-BE49-F238E27FC236}">
                <a16:creationId xmlns:a16="http://schemas.microsoft.com/office/drawing/2014/main" id="{EC9E53BF-9A39-CE44-AEC7-E146032F38EF}"/>
              </a:ext>
            </a:extLst>
          </p:cNvPr>
          <p:cNvSpPr>
            <a:spLocks noGrp="1"/>
          </p:cNvSpPr>
          <p:nvPr>
            <p:ph type="body" sz="quarter" idx="13"/>
          </p:nvPr>
        </p:nvSpPr>
        <p:spPr>
          <a:xfrm>
            <a:off x="623888" y="1052513"/>
            <a:ext cx="9477375" cy="288925"/>
          </a:xfrm>
        </p:spPr>
        <p:txBody>
          <a:bodyPr/>
          <a:lstStyle/>
          <a:p>
            <a:r>
              <a:rPr lang="en-US" dirty="0"/>
              <a:t>Possible risks, effects and reactions according to the actors involved</a:t>
            </a:r>
            <a:endParaRPr lang="es-CL" dirty="0"/>
          </a:p>
        </p:txBody>
      </p:sp>
      <p:sp>
        <p:nvSpPr>
          <p:cNvPr id="8" name="TextBox 2">
            <a:extLst>
              <a:ext uri="{FF2B5EF4-FFF2-40B4-BE49-F238E27FC236}">
                <a16:creationId xmlns:a16="http://schemas.microsoft.com/office/drawing/2014/main" id="{DC2C96CD-B58F-BB42-AF7B-62EAA89CDA3F}"/>
              </a:ext>
            </a:extLst>
          </p:cNvPr>
          <p:cNvSpPr txBox="1"/>
          <p:nvPr/>
        </p:nvSpPr>
        <p:spPr>
          <a:xfrm>
            <a:off x="352422" y="1582856"/>
            <a:ext cx="4664524" cy="400110"/>
          </a:xfrm>
          <a:prstGeom prst="rect">
            <a:avLst/>
          </a:prstGeom>
          <a:solidFill>
            <a:schemeClr val="bg1">
              <a:lumMod val="95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CL" sz="2000" b="1">
                <a:cs typeface="Calibri"/>
              </a:rPr>
              <a:t>Automotive industry</a:t>
            </a:r>
            <a:endParaRPr lang="es-CL" sz="2000" b="1" dirty="0">
              <a:cs typeface="Calibri"/>
            </a:endParaRPr>
          </a:p>
        </p:txBody>
      </p:sp>
      <p:sp>
        <p:nvSpPr>
          <p:cNvPr id="9" name="TextBox 100">
            <a:extLst>
              <a:ext uri="{FF2B5EF4-FFF2-40B4-BE49-F238E27FC236}">
                <a16:creationId xmlns:a16="http://schemas.microsoft.com/office/drawing/2014/main" id="{326FF29E-2676-F247-B6B9-4218791990BF}"/>
              </a:ext>
            </a:extLst>
          </p:cNvPr>
          <p:cNvSpPr txBox="1"/>
          <p:nvPr/>
        </p:nvSpPr>
        <p:spPr>
          <a:xfrm>
            <a:off x="4183017" y="1572560"/>
            <a:ext cx="3731740" cy="400110"/>
          </a:xfrm>
          <a:prstGeom prst="rect">
            <a:avLst/>
          </a:prstGeom>
          <a:solidFill>
            <a:schemeClr val="bg1">
              <a:lumMod val="85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CL" sz="2000" b="1" dirty="0" err="1">
                <a:cs typeface="Calibri"/>
              </a:rPr>
              <a:t>Consumers</a:t>
            </a:r>
            <a:endParaRPr lang="es-CL" sz="2000" b="1" dirty="0">
              <a:cs typeface="Calibri"/>
            </a:endParaRPr>
          </a:p>
        </p:txBody>
      </p:sp>
      <p:sp>
        <p:nvSpPr>
          <p:cNvPr id="10" name="TextBox 101">
            <a:extLst>
              <a:ext uri="{FF2B5EF4-FFF2-40B4-BE49-F238E27FC236}">
                <a16:creationId xmlns:a16="http://schemas.microsoft.com/office/drawing/2014/main" id="{F7EFA4C9-3082-F04C-80F3-5D49ABAB5523}"/>
              </a:ext>
            </a:extLst>
          </p:cNvPr>
          <p:cNvSpPr txBox="1"/>
          <p:nvPr/>
        </p:nvSpPr>
        <p:spPr>
          <a:xfrm>
            <a:off x="7900986" y="1572560"/>
            <a:ext cx="4114802" cy="400110"/>
          </a:xfrm>
          <a:prstGeom prst="rect">
            <a:avLst/>
          </a:prstGeom>
          <a:solidFill>
            <a:schemeClr val="bg1">
              <a:lumMod val="75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sz="2000" b="1" dirty="0"/>
              <a:t>Citizens/</a:t>
            </a:r>
            <a:r>
              <a:rPr lang="de-DE" sz="2000" b="1" dirty="0" err="1"/>
              <a:t>environmentalists</a:t>
            </a:r>
            <a:endParaRPr lang="de-DE" sz="2000" dirty="0"/>
          </a:p>
        </p:txBody>
      </p:sp>
      <p:sp>
        <p:nvSpPr>
          <p:cNvPr id="11" name="TextBox 106">
            <a:extLst>
              <a:ext uri="{FF2B5EF4-FFF2-40B4-BE49-F238E27FC236}">
                <a16:creationId xmlns:a16="http://schemas.microsoft.com/office/drawing/2014/main" id="{6CE5BB49-7937-9A4B-BE76-06DFF23F53E7}"/>
              </a:ext>
            </a:extLst>
          </p:cNvPr>
          <p:cNvSpPr txBox="1"/>
          <p:nvPr/>
        </p:nvSpPr>
        <p:spPr>
          <a:xfrm>
            <a:off x="204273" y="2256015"/>
            <a:ext cx="3731740" cy="22775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ea typeface="+mn-lt"/>
                <a:cs typeface="+mn-lt"/>
              </a:rPr>
              <a:t>Resistance to change</a:t>
            </a:r>
          </a:p>
          <a:p>
            <a:pPr marL="285750" indent="-285750">
              <a:buFont typeface="Arial"/>
              <a:buChar char="•"/>
            </a:pPr>
            <a:r>
              <a:rPr lang="en-US" sz="1600" dirty="0">
                <a:ea typeface="+mn-lt"/>
                <a:cs typeface="+mn-lt"/>
              </a:rPr>
              <a:t>Pressure to reduce requirements (key negotiation strategy)</a:t>
            </a:r>
          </a:p>
          <a:p>
            <a:pPr marL="285750" indent="-285750">
              <a:buFont typeface="Arial"/>
              <a:buChar char="•"/>
            </a:pPr>
            <a:r>
              <a:rPr lang="en-US" sz="1600" dirty="0">
                <a:ea typeface="+mn-lt"/>
                <a:cs typeface="+mn-lt"/>
              </a:rPr>
              <a:t>Non-compliance with standards (paying a fine is cheaper than making improvements)</a:t>
            </a:r>
          </a:p>
          <a:p>
            <a:pPr marL="285750" indent="-285750">
              <a:buFont typeface="Arial"/>
              <a:buChar char="•"/>
            </a:pPr>
            <a:r>
              <a:rPr lang="en-US" sz="1600" dirty="0">
                <a:ea typeface="+mn-lt"/>
                <a:cs typeface="+mn-lt"/>
              </a:rPr>
              <a:t>Incorporation of plug-in hybrid vehicles (vs. pure electric)</a:t>
            </a:r>
            <a:endParaRPr lang="es-CL" sz="1600" dirty="0">
              <a:latin typeface="Corbel" panose="020B0503020204020204" pitchFamily="34" charset="0"/>
              <a:ea typeface="+mn-lt"/>
              <a:cs typeface="+mn-lt"/>
            </a:endParaRPr>
          </a:p>
          <a:p>
            <a:endParaRPr lang="es-CL" sz="1400" dirty="0">
              <a:latin typeface="Corbel" panose="020B0503020204020204" pitchFamily="34" charset="0"/>
              <a:cs typeface="Calibri"/>
            </a:endParaRPr>
          </a:p>
        </p:txBody>
      </p:sp>
      <p:sp>
        <p:nvSpPr>
          <p:cNvPr id="12" name="TextBox 106">
            <a:extLst>
              <a:ext uri="{FF2B5EF4-FFF2-40B4-BE49-F238E27FC236}">
                <a16:creationId xmlns:a16="http://schemas.microsoft.com/office/drawing/2014/main" id="{4FA68A14-1F30-7B4E-B2A5-32FE1563AC60}"/>
              </a:ext>
            </a:extLst>
          </p:cNvPr>
          <p:cNvSpPr txBox="1"/>
          <p:nvPr/>
        </p:nvSpPr>
        <p:spPr>
          <a:xfrm>
            <a:off x="4169246" y="2219152"/>
            <a:ext cx="3731740"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ea typeface="+mn-lt"/>
                <a:cs typeface="+mn-lt"/>
              </a:rPr>
              <a:t>Transfer of fines</a:t>
            </a:r>
          </a:p>
          <a:p>
            <a:pPr marL="285750" indent="-285750">
              <a:buFont typeface="Arial"/>
              <a:buChar char="•"/>
            </a:pPr>
            <a:r>
              <a:rPr lang="en-US" sz="1600" dirty="0">
                <a:ea typeface="+mn-lt"/>
                <a:cs typeface="+mn-lt"/>
              </a:rPr>
              <a:t>Transfer of improvement costs</a:t>
            </a:r>
          </a:p>
          <a:p>
            <a:pPr marL="285750" indent="-285750">
              <a:buFont typeface="Arial"/>
              <a:buChar char="•"/>
            </a:pPr>
            <a:r>
              <a:rPr lang="en-US" sz="1600" dirty="0">
                <a:ea typeface="+mn-lt"/>
                <a:cs typeface="+mn-lt"/>
              </a:rPr>
              <a:t>Search for new options in view of the possible disappearance of models.</a:t>
            </a:r>
            <a:endParaRPr lang="es-CL" sz="1400" dirty="0">
              <a:latin typeface="Corbel" panose="020B0503020204020204" pitchFamily="34" charset="0"/>
              <a:cs typeface="Calibri"/>
            </a:endParaRPr>
          </a:p>
        </p:txBody>
      </p:sp>
      <p:sp>
        <p:nvSpPr>
          <p:cNvPr id="14" name="TextBox 106">
            <a:extLst>
              <a:ext uri="{FF2B5EF4-FFF2-40B4-BE49-F238E27FC236}">
                <a16:creationId xmlns:a16="http://schemas.microsoft.com/office/drawing/2014/main" id="{3509D2FD-D77E-2D4E-9306-5F5220D589A7}"/>
              </a:ext>
            </a:extLst>
          </p:cNvPr>
          <p:cNvSpPr txBox="1"/>
          <p:nvPr/>
        </p:nvSpPr>
        <p:spPr>
          <a:xfrm>
            <a:off x="8002996" y="2203792"/>
            <a:ext cx="3731740"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1600" dirty="0">
                <a:ea typeface="+mn-lt"/>
                <a:cs typeface="+mn-lt"/>
              </a:rPr>
              <a:t>Requirements perceived as unambitious (energy and environmental point of view).</a:t>
            </a:r>
          </a:p>
          <a:p>
            <a:pPr marL="285750" indent="-285750">
              <a:buFont typeface="Arial"/>
              <a:buChar char="•"/>
            </a:pPr>
            <a:r>
              <a:rPr lang="en-US" sz="1600" dirty="0">
                <a:ea typeface="+mn-lt"/>
                <a:cs typeface="+mn-lt"/>
              </a:rPr>
              <a:t>Costs borne by people, even if those responsible do not comply with the standards (negative externalities + price increase).</a:t>
            </a:r>
            <a:endParaRPr lang="es-CL" sz="1400" dirty="0">
              <a:latin typeface="Corbel" panose="020B0503020204020204" pitchFamily="34" charset="0"/>
              <a:cs typeface="Calibri"/>
            </a:endParaRPr>
          </a:p>
        </p:txBody>
      </p:sp>
    </p:spTree>
    <p:extLst>
      <p:ext uri="{BB962C8B-B14F-4D97-AF65-F5344CB8AC3E}">
        <p14:creationId xmlns:p14="http://schemas.microsoft.com/office/powerpoint/2010/main" val="4014356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Object 5"/>
          <p:cNvGraphicFramePr>
            <a:graphicFrameLocks noChangeAspect="1"/>
          </p:cNvGraphicFramePr>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7410" name="Object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ángulo 1"/>
          <p:cNvSpPr/>
          <p:nvPr/>
        </p:nvSpPr>
        <p:spPr>
          <a:xfrm>
            <a:off x="1715904" y="1196753"/>
            <a:ext cx="8496944" cy="4108176"/>
          </a:xfrm>
          <a:prstGeom prst="rect">
            <a:avLst/>
          </a:prstGeom>
        </p:spPr>
        <p:txBody>
          <a:bodyPr wrap="square">
            <a:spAutoFit/>
          </a:bodyPr>
          <a:lstStyle/>
          <a:p>
            <a:pPr marL="285750" indent="-285750">
              <a:lnSpc>
                <a:spcPct val="150000"/>
              </a:lnSpc>
              <a:buFont typeface="Arial" panose="020B0604020202020204" pitchFamily="34" charset="0"/>
              <a:buChar char="•"/>
            </a:pPr>
            <a:r>
              <a:rPr lang="en-US" sz="1600" dirty="0">
                <a:solidFill>
                  <a:schemeClr val="bg2">
                    <a:lumMod val="50000"/>
                  </a:schemeClr>
                </a:solidFill>
              </a:rPr>
              <a:t>Objective: To set an energy efficiency standard for the motor vehicle fleet.</a:t>
            </a:r>
          </a:p>
          <a:p>
            <a:pPr marL="285750" indent="-285750">
              <a:lnSpc>
                <a:spcPct val="150000"/>
              </a:lnSpc>
              <a:buFont typeface="Arial" panose="020B0604020202020204" pitchFamily="34" charset="0"/>
              <a:buChar char="•"/>
            </a:pPr>
            <a:r>
              <a:rPr lang="en-US" sz="1600" dirty="0">
                <a:solidFill>
                  <a:schemeClr val="bg2">
                    <a:lumMod val="50000"/>
                  </a:schemeClr>
                </a:solidFill>
              </a:rPr>
              <a:t>Standard: Set by Resolution of ME and MTT, through energy efficiency goals to be met by manufacturers, importers or their representatives, with respect to the vehicles they market.</a:t>
            </a:r>
          </a:p>
          <a:p>
            <a:pPr marL="285750" indent="-285750">
              <a:lnSpc>
                <a:spcPct val="150000"/>
              </a:lnSpc>
              <a:buFont typeface="Arial" panose="020B0604020202020204" pitchFamily="34" charset="0"/>
              <a:buChar char="•"/>
            </a:pPr>
            <a:r>
              <a:rPr lang="en-US" sz="1600" dirty="0">
                <a:solidFill>
                  <a:schemeClr val="bg2">
                    <a:lumMod val="50000"/>
                  </a:schemeClr>
                </a:solidFill>
              </a:rPr>
              <a:t>Metric: Energy efficiency in kilometers per liter of gasoline equivalent and its equivalence in grams of CO2 per kilometer, determined using the values obtained in the homologation of the vehicle.</a:t>
            </a:r>
          </a:p>
          <a:p>
            <a:pPr marL="285750" indent="-285750">
              <a:lnSpc>
                <a:spcPct val="150000"/>
              </a:lnSpc>
              <a:buFont typeface="Arial" panose="020B0604020202020204" pitchFamily="34" charset="0"/>
              <a:buChar char="•"/>
            </a:pPr>
            <a:r>
              <a:rPr lang="en-US" sz="1600" dirty="0">
                <a:solidFill>
                  <a:schemeClr val="bg2">
                    <a:lumMod val="50000"/>
                  </a:schemeClr>
                </a:solidFill>
              </a:rPr>
              <a:t>Application: Gradual, starting with light vehicles.</a:t>
            </a:r>
          </a:p>
          <a:p>
            <a:pPr marL="285750" indent="-285750">
              <a:lnSpc>
                <a:spcPct val="150000"/>
              </a:lnSpc>
              <a:buFont typeface="Arial" panose="020B0604020202020204" pitchFamily="34" charset="0"/>
              <a:buChar char="•"/>
            </a:pPr>
            <a:r>
              <a:rPr lang="en-US" sz="1600" dirty="0">
                <a:solidFill>
                  <a:schemeClr val="bg2">
                    <a:lumMod val="50000"/>
                  </a:schemeClr>
                </a:solidFill>
              </a:rPr>
              <a:t>If the MTT detects that a manufacturer has exceeded the energy performance goals, it must inform the SEC so that it can initiate a sanctioning process.</a:t>
            </a:r>
          </a:p>
          <a:p>
            <a:pPr marL="285750" indent="-285750">
              <a:lnSpc>
                <a:spcPct val="150000"/>
              </a:lnSpc>
              <a:buFont typeface="Arial" panose="020B0604020202020204" pitchFamily="34" charset="0"/>
              <a:buChar char="•"/>
            </a:pPr>
            <a:r>
              <a:rPr lang="en-US" sz="1600" dirty="0">
                <a:solidFill>
                  <a:schemeClr val="bg2">
                    <a:lumMod val="50000"/>
                  </a:schemeClr>
                </a:solidFill>
              </a:rPr>
              <a:t>SEC carries out sanctioning process.</a:t>
            </a:r>
            <a:endParaRPr lang="es-ES" sz="1600" dirty="0">
              <a:solidFill>
                <a:schemeClr val="bg2">
                  <a:lumMod val="50000"/>
                </a:schemeClr>
              </a:solidFill>
            </a:endParaRPr>
          </a:p>
        </p:txBody>
      </p:sp>
      <p:sp>
        <p:nvSpPr>
          <p:cNvPr id="3" name="Marcador de número de diapositiva 4">
            <a:extLst>
              <a:ext uri="{FF2B5EF4-FFF2-40B4-BE49-F238E27FC236}">
                <a16:creationId xmlns:a16="http://schemas.microsoft.com/office/drawing/2014/main" id="{456D1562-DCA1-89A4-3A0F-4709227C91AD}"/>
              </a:ext>
            </a:extLst>
          </p:cNvPr>
          <p:cNvSpPr>
            <a:spLocks noGrp="1"/>
          </p:cNvSpPr>
          <p:nvPr>
            <p:ph type="sldNum" sz="quarter" idx="12"/>
          </p:nvPr>
        </p:nvSpPr>
        <p:spPr>
          <a:xfrm>
            <a:off x="11134725" y="6554574"/>
            <a:ext cx="722313" cy="303426"/>
          </a:xfrm>
        </p:spPr>
        <p:txBody>
          <a:bodyPr/>
          <a:lstStyle/>
          <a:p>
            <a:r>
              <a:rPr lang="es-CL" dirty="0"/>
              <a:t>|   </a:t>
            </a:r>
            <a:fld id="{785CD681-51D3-414E-83F2-54688883A8C2}" type="slidenum">
              <a:rPr lang="es-CL" smtClean="0"/>
              <a:pPr/>
              <a:t>9</a:t>
            </a:fld>
            <a:endParaRPr lang="es-CL" dirty="0"/>
          </a:p>
        </p:txBody>
      </p:sp>
      <p:sp>
        <p:nvSpPr>
          <p:cNvPr id="5" name="Título 4">
            <a:extLst>
              <a:ext uri="{FF2B5EF4-FFF2-40B4-BE49-F238E27FC236}">
                <a16:creationId xmlns:a16="http://schemas.microsoft.com/office/drawing/2014/main" id="{F6073A0B-23CA-6B54-B92B-1D6CD831E66A}"/>
              </a:ext>
            </a:extLst>
          </p:cNvPr>
          <p:cNvSpPr>
            <a:spLocks noGrp="1"/>
          </p:cNvSpPr>
          <p:nvPr>
            <p:ph type="title"/>
          </p:nvPr>
        </p:nvSpPr>
        <p:spPr/>
        <p:txBody>
          <a:bodyPr>
            <a:normAutofit fontScale="90000"/>
          </a:bodyPr>
          <a:lstStyle/>
          <a:p>
            <a:endParaRPr lang="de-DE"/>
          </a:p>
        </p:txBody>
      </p:sp>
      <p:sp>
        <p:nvSpPr>
          <p:cNvPr id="6" name="25 Título">
            <a:extLst>
              <a:ext uri="{FF2B5EF4-FFF2-40B4-BE49-F238E27FC236}">
                <a16:creationId xmlns:a16="http://schemas.microsoft.com/office/drawing/2014/main" id="{465DD3D3-F561-FBD2-47EC-E3592A65F5C3}"/>
              </a:ext>
            </a:extLst>
          </p:cNvPr>
          <p:cNvSpPr txBox="1">
            <a:spLocks/>
          </p:cNvSpPr>
          <p:nvPr/>
        </p:nvSpPr>
        <p:spPr bwMode="auto">
          <a:xfrm>
            <a:off x="1715904" y="494078"/>
            <a:ext cx="8352328" cy="615553"/>
          </a:xfrm>
          <a:prstGeom prst="rect">
            <a:avLst/>
          </a:prstGeom>
          <a:noFill/>
          <a:ln w="9525">
            <a:noFill/>
            <a:miter lim="800000"/>
            <a:headEnd/>
            <a:tailEnd/>
          </a:ln>
        </p:spPr>
        <p:txBody>
          <a:bodyPr vert="horz" lIns="91440" tIns="45720" rIns="91440" bIns="45720" rtlCol="0" anchor="b">
            <a:normAutofit fontScale="97500"/>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r>
              <a:rPr lang="en-US" sz="1800" dirty="0">
                <a:solidFill>
                  <a:schemeClr val="bg2">
                    <a:lumMod val="50000"/>
                  </a:schemeClr>
                </a:solidFill>
              </a:rPr>
              <a:t>DRAFT STANDARD LAW ON ENERGY EFFICIENCY IN TRANSPORT</a:t>
            </a:r>
            <a:endParaRPr lang="es-CL" sz="2000" u="sng" dirty="0">
              <a:solidFill>
                <a:schemeClr val="bg2">
                  <a:lumMod val="25000"/>
                </a:schemeClr>
              </a:solidFill>
            </a:endParaRPr>
          </a:p>
        </p:txBody>
      </p:sp>
    </p:spTree>
    <p:extLst>
      <p:ext uri="{BB962C8B-B14F-4D97-AF65-F5344CB8AC3E}">
        <p14:creationId xmlns:p14="http://schemas.microsoft.com/office/powerpoint/2010/main" val="18410041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wR8OVvPKkGMquvKSS6l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wR8OVvPKkGMquvKSS6lhw"/>
</p:tagLst>
</file>

<file path=ppt/theme/theme1.xml><?xml version="1.0" encoding="utf-8"?>
<a:theme xmlns:a="http://schemas.openxmlformats.org/drawingml/2006/main" name="DanielaSoler-EEV">
  <a:themeElements>
    <a:clrScheme name="IOP-MEN">
      <a:dk1>
        <a:srgbClr val="001F60"/>
      </a:dk1>
      <a:lt1>
        <a:srgbClr val="FFFFFF"/>
      </a:lt1>
      <a:dk2>
        <a:srgbClr val="595959"/>
      </a:dk2>
      <a:lt2>
        <a:srgbClr val="EEEEEE"/>
      </a:lt2>
      <a:accent1>
        <a:srgbClr val="001F60"/>
      </a:accent1>
      <a:accent2>
        <a:srgbClr val="66D1CA"/>
      </a:accent2>
      <a:accent3>
        <a:srgbClr val="68B0AB"/>
      </a:accent3>
      <a:accent4>
        <a:srgbClr val="902D41"/>
      </a:accent4>
      <a:accent5>
        <a:srgbClr val="A78A7F"/>
      </a:accent5>
      <a:accent6>
        <a:srgbClr val="F3C98B"/>
      </a:accent6>
      <a:hlink>
        <a:srgbClr val="0097A7"/>
      </a:hlink>
      <a:folHlink>
        <a:srgbClr val="0097A7"/>
      </a:folHlink>
    </a:clrScheme>
    <a:fontScheme name="Hidrogeno_MEN">
      <a:majorFont>
        <a:latin typeface="Poppins"/>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F23B8812BCB8242AB31F7BA9ADC2539" ma:contentTypeVersion="19" ma:contentTypeDescription="Ein neues Dokument erstellen." ma:contentTypeScope="" ma:versionID="3ca83ffcb3fc49be11df59b6c472c809">
  <xsd:schema xmlns:xsd="http://www.w3.org/2001/XMLSchema" xmlns:xs="http://www.w3.org/2001/XMLSchema" xmlns:p="http://schemas.microsoft.com/office/2006/metadata/properties" xmlns:ns2="6b84dadb-64e9-451d-ac24-20f83dc4e5bc" xmlns:ns3="7ea94427-a814-4900-b4f1-e109ad14e580" targetNamespace="http://schemas.microsoft.com/office/2006/metadata/properties" ma:root="true" ma:fieldsID="9e4595ee780d3680fac2a753fda22541" ns2:_="" ns3:_="">
    <xsd:import namespace="6b84dadb-64e9-451d-ac24-20f83dc4e5bc"/>
    <xsd:import namespace="7ea94427-a814-4900-b4f1-e109ad14e58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Location" minOccurs="0"/>
                <xsd:element ref="ns2:lcf76f155ced4ddcb4097134ff3c332f" minOccurs="0"/>
                <xsd:element ref="ns3:TaxCatchAll" minOccurs="0"/>
                <xsd:element ref="ns2:Documenttyp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84dadb-64e9-451d-ac24-20f83dc4e5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ed264e-563a-469a-8ebe-271e849ec10c" ma:termSetId="09814cd3-568e-fe90-9814-8d621ff8fb84" ma:anchorId="fba54fb3-c3e1-fe81-a776-ca4b69148c4d" ma:open="true" ma:isKeyword="false">
      <xsd:complexType>
        <xsd:sequence>
          <xsd:element ref="pc:Terms" minOccurs="0" maxOccurs="1"/>
        </xsd:sequence>
      </xsd:complexType>
    </xsd:element>
    <xsd:element name="Documenttype" ma:index="24" nillable="true" ma:displayName="Document type" ma:format="Dropdown" ma:internalName="Documenttype">
      <xsd:simpleType>
        <xsd:restriction base="dms:Choice">
          <xsd:enumeration value="Template"/>
          <xsd:enumeration value="Guide"/>
          <xsd:enumeration value="Tutorial"/>
          <xsd:enumeration value="Working Doc"/>
        </xsd:restrictio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a94427-a814-4900-b4f1-e109ad14e580"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c91f7b5e-02e1-44ad-9dd5-27c65a3617cf}" ma:internalName="TaxCatchAll" ma:showField="CatchAllData" ma:web="7ea94427-a814-4900-b4f1-e109ad14e58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b84dadb-64e9-451d-ac24-20f83dc4e5bc">
      <Terms xmlns="http://schemas.microsoft.com/office/infopath/2007/PartnerControls"/>
    </lcf76f155ced4ddcb4097134ff3c332f>
    <Documenttype xmlns="6b84dadb-64e9-451d-ac24-20f83dc4e5bc" xsi:nil="true"/>
    <TaxCatchAll xmlns="7ea94427-a814-4900-b4f1-e109ad14e58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59C782-1728-4426-9D7E-B316776142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84dadb-64e9-451d-ac24-20f83dc4e5bc"/>
    <ds:schemaRef ds:uri="7ea94427-a814-4900-b4f1-e109ad14e5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C150C34-4CB1-4C18-B93C-BED6293F0B8A}">
  <ds:schemaRefs>
    <ds:schemaRef ds:uri="3b453942-30ed-47cd-ada5-b60bed286633"/>
    <ds:schemaRef ds:uri="99c63025-0e00-485a-8cb3-f0d88e3d21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6b84dadb-64e9-451d-ac24-20f83dc4e5bc"/>
    <ds:schemaRef ds:uri="7ea94427-a814-4900-b4f1-e109ad14e580"/>
  </ds:schemaRefs>
</ds:datastoreItem>
</file>

<file path=customXml/itemProps3.xml><?xml version="1.0" encoding="utf-8"?>
<ds:datastoreItem xmlns:ds="http://schemas.openxmlformats.org/officeDocument/2006/customXml" ds:itemID="{B07EE4D4-5FA1-4E51-A6E9-C18CB78E209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9554</Words>
  <Application>Microsoft Office PowerPoint</Application>
  <PresentationFormat>Panorámica</PresentationFormat>
  <Paragraphs>636</Paragraphs>
  <Slides>29</Slides>
  <Notes>21</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29</vt:i4>
      </vt:variant>
    </vt:vector>
  </HeadingPairs>
  <TitlesOfParts>
    <vt:vector size="41" baseType="lpstr">
      <vt:lpstr>Arial</vt:lpstr>
      <vt:lpstr>Bebas Neue Book</vt:lpstr>
      <vt:lpstr>Calibri</vt:lpstr>
      <vt:lpstr>Cambria Math</vt:lpstr>
      <vt:lpstr>Century Gothic</vt:lpstr>
      <vt:lpstr>Corbel</vt:lpstr>
      <vt:lpstr>Lato</vt:lpstr>
      <vt:lpstr>Poppins</vt:lpstr>
      <vt:lpstr>Times New Roman</vt:lpstr>
      <vt:lpstr>Verdana</vt:lpstr>
      <vt:lpstr>DanielaSoler-EEV</vt:lpstr>
      <vt:lpstr>think-cell Slide</vt:lpstr>
      <vt:lpstr>Vehicle Efficiency Standards: Chile's Experience</vt:lpstr>
      <vt:lpstr>Agenda</vt:lpstr>
      <vt:lpstr>Presentación de PowerPoint</vt:lpstr>
      <vt:lpstr>Presentación de PowerPoint</vt:lpstr>
      <vt:lpstr>Presentación de PowerPoint</vt:lpstr>
      <vt:lpstr>Presentación de PowerPoint</vt:lpstr>
      <vt:lpstr>Presentación de PowerPoint</vt:lpstr>
      <vt:lpstr>Considerations</vt:lpstr>
      <vt:lpstr>Presentación de PowerPoint</vt:lpstr>
      <vt:lpstr>DRAFT STANDARD LAW ON ENERGY EFFICIENCY IN TRANSPORT</vt:lpstr>
      <vt:lpstr>Presentación de PowerPoint</vt:lpstr>
      <vt:lpstr>Presentación de PowerPoint</vt:lpstr>
      <vt:lpstr>Presentación de PowerPoint</vt:lpstr>
      <vt:lpstr>Analysis of the Light Vehicle Market in Chile</vt:lpstr>
      <vt:lpstr>Light duty vehicles in Chile</vt:lpstr>
      <vt:lpstr>Assessed scenarios</vt:lpstr>
      <vt:lpstr>Regulatory Proces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Vehicle Efficiency Standards: Chile's Experi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Gustavo Hunter Sandoval</dc:creator>
  <cp:lastModifiedBy>Taeger, Nadja GIZ CO</cp:lastModifiedBy>
  <cp:revision>5</cp:revision>
  <dcterms:created xsi:type="dcterms:W3CDTF">2020-10-19T14:19:43Z</dcterms:created>
  <dcterms:modified xsi:type="dcterms:W3CDTF">2024-11-04T19:3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23B8812BCB8242AB31F7BA9ADC2539</vt:lpwstr>
  </property>
  <property fmtid="{D5CDD505-2E9C-101B-9397-08002B2CF9AE}" pid="3" name="MediaServiceImageTags">
    <vt:lpwstr/>
  </property>
</Properties>
</file>